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ags/tag8.xml" ContentType="application/vnd.openxmlformats-officedocument.presentationml.tags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1.xml" ContentType="application/vnd.openxmlformats-officedocument.drawingml.chart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rts/chart2.xml" ContentType="application/vnd.openxmlformats-officedocument.drawingml.chart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charts/chart3.xml" ContentType="application/vnd.openxmlformats-officedocument.drawingml.chart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charts/chart8.xml" ContentType="application/vnd.openxmlformats-officedocument.drawingml.chart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charts/chart9.xml" ContentType="application/vnd.openxmlformats-officedocument.drawingml.chart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notesSlides/notesSlide5.xml" ContentType="application/vnd.openxmlformats-officedocument.presentationml.notesSlide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8" r:id="rId4"/>
    <p:sldMasterId id="2147483666" r:id="rId5"/>
    <p:sldMasterId id="2147483648" r:id="rId6"/>
    <p:sldMasterId id="2147483700" r:id="rId7"/>
    <p:sldMasterId id="2147483712" r:id="rId8"/>
    <p:sldMasterId id="2147483722" r:id="rId9"/>
  </p:sldMasterIdLst>
  <p:notesMasterIdLst>
    <p:notesMasterId r:id="rId36"/>
  </p:notesMasterIdLst>
  <p:sldIdLst>
    <p:sldId id="2056" r:id="rId10"/>
    <p:sldId id="2147470536" r:id="rId11"/>
    <p:sldId id="2147470589" r:id="rId12"/>
    <p:sldId id="2147470522" r:id="rId13"/>
    <p:sldId id="2147470620" r:id="rId14"/>
    <p:sldId id="2147470601" r:id="rId15"/>
    <p:sldId id="2147470600" r:id="rId16"/>
    <p:sldId id="2147470590" r:id="rId17"/>
    <p:sldId id="2147470607" r:id="rId18"/>
    <p:sldId id="2147470613" r:id="rId19"/>
    <p:sldId id="2147470615" r:id="rId20"/>
    <p:sldId id="2147470614" r:id="rId21"/>
    <p:sldId id="2147470612" r:id="rId22"/>
    <p:sldId id="2147470608" r:id="rId23"/>
    <p:sldId id="2147470609" r:id="rId24"/>
    <p:sldId id="2147470621" r:id="rId25"/>
    <p:sldId id="2147470617" r:id="rId26"/>
    <p:sldId id="2147470610" r:id="rId27"/>
    <p:sldId id="2147470616" r:id="rId28"/>
    <p:sldId id="2147470611" r:id="rId29"/>
    <p:sldId id="2147470591" r:id="rId30"/>
    <p:sldId id="2147470604" r:id="rId31"/>
    <p:sldId id="2147470592" r:id="rId32"/>
    <p:sldId id="2147470597" r:id="rId33"/>
    <p:sldId id="2147470599" r:id="rId34"/>
    <p:sldId id="2147470229" r:id="rId35"/>
  </p:sldIdLst>
  <p:sldSz cx="12192000" cy="6858000"/>
  <p:notesSz cx="6858000" cy="9144000"/>
  <p:custDataLst>
    <p:tags r:id="rId37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766F9ED-725D-E04D-D883-E68D46DE6939}" name="Louise HUREL" initials="LH" userId="S::louise.hurel@carbone4.com::2e993be5-68f3-4d3d-bd2e-4033389ed5e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biot mathias" initials="rm" lastIdx="1" clrIdx="0">
    <p:extLst>
      <p:ext uri="{19B8F6BF-5375-455C-9EA6-DF929625EA0E}">
        <p15:presenceInfo xmlns:p15="http://schemas.microsoft.com/office/powerpoint/2012/main" userId="058a7abd52d94970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4059"/>
    <a:srgbClr val="5B9CF4"/>
    <a:srgbClr val="283245"/>
    <a:srgbClr val="0E5ECB"/>
    <a:srgbClr val="ADCDF9"/>
    <a:srgbClr val="EFF6FC"/>
    <a:srgbClr val="EFF6FE"/>
    <a:srgbClr val="DCF5FD"/>
    <a:srgbClr val="EDF4FE"/>
    <a:srgbClr val="67676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07B466-0327-F34E-8556-EF129449C319}" v="35445" dt="2025-12-01T10:08:34.33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929F9F4-4A8F-4326-A1B4-22849713DDAB}" styleName="Style foncé 1 - Accentuation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7292A2E-F333-43FB-9621-5CBBE7FDCDCB}" styleName="Style léger 2 - Accentuation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presProps" Target="presProps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microsoft.com/office/2015/10/relationships/revisionInfo" Target="revisionInfo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7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8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9.xlsb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0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630406290956749E-2"/>
          <c:y val="0.11048158640226628"/>
          <c:w val="0.97273918741808652"/>
          <c:h val="0.8114123836503439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382840955078915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75E-9949-82DC-C57FEDFA58FD}"/>
                </c:ext>
              </c:extLst>
            </c:dLbl>
            <c:dLbl>
              <c:idx val="1"/>
              <c:layout>
                <c:manualLayout>
                  <c:x val="0"/>
                  <c:y val="-0.1845406717927964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75E-9949-82DC-C57FEDFA58FD}"/>
                </c:ext>
              </c:extLst>
            </c:dLbl>
            <c:dLbl>
              <c:idx val="2"/>
              <c:layout>
                <c:manualLayout>
                  <c:x val="0"/>
                  <c:y val="-0.1420477539457709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75E-9949-82DC-C57FEDFA58F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3.44</c:v>
                </c:pt>
                <c:pt idx="1">
                  <c:v>1.29</c:v>
                </c:pt>
                <c:pt idx="2">
                  <c:v>0.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75E-9949-82DC-C57FEDFA58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0279407"/>
        <c:axId val="1"/>
      </c:barChart>
      <c:catAx>
        <c:axId val="11027940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.4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027940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165077635521656E-2"/>
          <c:y val="0.14191176470588235"/>
          <c:w val="0.97166984472895668"/>
          <c:h val="0.716176470588235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205882352941176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76F-1445-A30F-00F5D1007EAD}"/>
                </c:ext>
              </c:extLst>
            </c:dLbl>
            <c:dLbl>
              <c:idx val="1"/>
              <c:layout>
                <c:manualLayout>
                  <c:x val="0"/>
                  <c:y val="-2.205882352941176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76F-1445-A30F-00F5D1007EA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93</c:v>
                </c:pt>
                <c:pt idx="1">
                  <c:v>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76F-1445-A30F-00F5D1007EAD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-6.7284118768727863E-2"/>
                  <c:y val="-2.205882352941176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76F-1445-A30F-00F5D1007EA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0.66299580574418204</c:v>
                </c:pt>
                <c:pt idx="1">
                  <c:v>9.50773568415812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76F-1445-A30F-00F5D1007EAD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.16480523018251159"/>
                  <c:y val="4.264705882352941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76F-1445-A30F-00F5D1007EA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B$3</c:f>
              <c:numCache>
                <c:formatCode>General</c:formatCode>
                <c:ptCount val="2"/>
                <c:pt idx="0">
                  <c:v>0.70481025613634563</c:v>
                </c:pt>
                <c:pt idx="1">
                  <c:v>1.63852535165140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76F-1445-A30F-00F5D1007EAD}"/>
            </c:ext>
          </c:extLst>
        </c:ser>
        <c:ser>
          <c:idx val="3"/>
          <c:order val="3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0.20782694064049867</c:v>
                </c:pt>
                <c:pt idx="1">
                  <c:v>0.212243643173326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76F-1445-A30F-00F5D1007EAD}"/>
            </c:ext>
          </c:extLst>
        </c:ser>
        <c:ser>
          <c:idx val="4"/>
          <c:order val="4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5:$B$5</c:f>
              <c:numCache>
                <c:formatCode>General</c:formatCode>
                <c:ptCount val="2"/>
                <c:pt idx="0">
                  <c:v>0.31999999999999806</c:v>
                </c:pt>
                <c:pt idx="1">
                  <c:v>5.99999999999999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76F-1445-A30F-00F5D1007EAD}"/>
            </c:ext>
          </c:extLst>
        </c:ser>
        <c:ser>
          <c:idx val="5"/>
          <c:order val="5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.16262598746935439"/>
                  <c:y val="8.088235294117647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76F-1445-A30F-00F5D1007EA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B$6</c:f>
              <c:numCache>
                <c:formatCode>General</c:formatCode>
                <c:ptCount val="2"/>
                <c:pt idx="0">
                  <c:v>9.1824174075894049E-2</c:v>
                </c:pt>
                <c:pt idx="1">
                  <c:v>1.255479798552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76F-1445-A30F-00F5D1007EAD}"/>
            </c:ext>
          </c:extLst>
        </c:ser>
        <c:ser>
          <c:idx val="6"/>
          <c:order val="6"/>
          <c:spPr>
            <a:solidFill>
              <a:srgbClr val="C30C3E"/>
            </a:solidFill>
            <a:ln>
              <a:noFill/>
            </a:ln>
          </c:spPr>
          <c:invertIfNegative val="0"/>
          <c:val>
            <c:numRef>
              <c:f>Sheet1!$A$7:$B$7</c:f>
              <c:numCache>
                <c:formatCode>General</c:formatCode>
                <c:ptCount val="2"/>
                <c:pt idx="0">
                  <c:v>5.0000000000000044</c:v>
                </c:pt>
                <c:pt idx="1">
                  <c:v>4.10000000000000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176F-1445-A30F-00F5D1007E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22135711"/>
        <c:axId val="1"/>
      </c:barChart>
      <c:catAx>
        <c:axId val="18221357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7139844775349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221357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7018348623853214E-2"/>
          <c:y val="0.11830033800096572"/>
          <c:w val="0.90653669724770647"/>
          <c:h val="0.7633993239980685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3ACF-8641-8E95-CDAF1E8238D8}"/>
              </c:ext>
            </c:extLst>
          </c:dPt>
          <c:dPt>
            <c:idx val="1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3ACF-8641-8E95-CDAF1E8238D8}"/>
              </c:ext>
            </c:extLst>
          </c:dPt>
          <c:dPt>
            <c:idx val="2"/>
            <c:bubble3D val="0"/>
            <c:spPr>
              <a:solidFill>
                <a:srgbClr val="FFEDB9"/>
              </a:solidFill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3ACF-8641-8E95-CDAF1E8238D8}"/>
              </c:ext>
            </c:extLst>
          </c:dPt>
          <c:dPt>
            <c:idx val="3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3ACF-8641-8E95-CDAF1E8238D8}"/>
              </c:ext>
            </c:extLst>
          </c:dPt>
          <c:dPt>
            <c:idx val="4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3ACF-8641-8E95-CDAF1E8238D8}"/>
              </c:ext>
            </c:extLst>
          </c:dPt>
          <c:dPt>
            <c:idx val="5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3ACF-8641-8E95-CDAF1E8238D8}"/>
              </c:ext>
            </c:extLst>
          </c:dPt>
          <c:dPt>
            <c:idx val="6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3ACF-8641-8E95-CDAF1E8238D8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3ACF-8641-8E95-CDAF1E8238D8}"/>
              </c:ext>
            </c:extLst>
          </c:dPt>
          <c:dLbls>
            <c:dLbl>
              <c:idx val="0"/>
              <c:layout>
                <c:manualLayout>
                  <c:x val="3.096330275229358E-2"/>
                  <c:y val="-1.738290680830516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ACF-8641-8E95-CDAF1E8238D8}"/>
                </c:ext>
              </c:extLst>
            </c:dLbl>
            <c:dLbl>
              <c:idx val="1"/>
              <c:layout>
                <c:manualLayout>
                  <c:x val="2.8096330275229359E-2"/>
                  <c:y val="1.207146306132303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ACF-8641-8E95-CDAF1E8238D8}"/>
                </c:ext>
              </c:extLst>
            </c:dLbl>
            <c:dLbl>
              <c:idx val="2"/>
              <c:layout>
                <c:manualLayout>
                  <c:x val="-2.8669724770642203E-3"/>
                  <c:y val="5.214872042491550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ACF-8641-8E95-CDAF1E8238D8}"/>
                </c:ext>
              </c:extLst>
            </c:dLbl>
            <c:dLbl>
              <c:idx val="3"/>
              <c:layout>
                <c:manualLayout>
                  <c:x val="-3.3256880733944956E-2"/>
                  <c:y val="-5.31144374698213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ACF-8641-8E95-CDAF1E8238D8}"/>
                </c:ext>
              </c:extLst>
            </c:dLbl>
            <c:dLbl>
              <c:idx val="4"/>
              <c:layout>
                <c:manualLayout>
                  <c:x val="1.4334862385321102E-2"/>
                  <c:y val="-4.345726702076291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ACF-8641-8E95-CDAF1E8238D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8</c:f>
              <c:numCache>
                <c:formatCode>General</c:formatCode>
                <c:ptCount val="8"/>
                <c:pt idx="0">
                  <c:v>9.6</c:v>
                </c:pt>
                <c:pt idx="1">
                  <c:v>24.099999999999998</c:v>
                </c:pt>
                <c:pt idx="2">
                  <c:v>10.199999999999999</c:v>
                </c:pt>
                <c:pt idx="3">
                  <c:v>43.7</c:v>
                </c:pt>
                <c:pt idx="4">
                  <c:v>10.199999999999999</c:v>
                </c:pt>
                <c:pt idx="5">
                  <c:v>0.5</c:v>
                </c:pt>
                <c:pt idx="6">
                  <c:v>1.6</c:v>
                </c:pt>
                <c:pt idx="7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ACF-8641-8E95-CDAF1E8238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5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7018348623853214E-2"/>
          <c:y val="0.11830033800096572"/>
          <c:w val="0.90653669724770647"/>
          <c:h val="0.7633993239980685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B556-384C-921E-993B9FAA22DA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B556-384C-921E-993B9FAA22DA}"/>
              </c:ext>
            </c:extLst>
          </c:dPt>
          <c:dPt>
            <c:idx val="2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B556-384C-921E-993B9FAA22DA}"/>
              </c:ext>
            </c:extLst>
          </c:dPt>
          <c:dPt>
            <c:idx val="3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B556-384C-921E-993B9FAA22DA}"/>
              </c:ext>
            </c:extLst>
          </c:dPt>
          <c:dPt>
            <c:idx val="4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B556-384C-921E-993B9FAA22DA}"/>
              </c:ext>
            </c:extLst>
          </c:dPt>
          <c:dPt>
            <c:idx val="5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B556-384C-921E-993B9FAA22DA}"/>
              </c:ext>
            </c:extLst>
          </c:dPt>
          <c:dPt>
            <c:idx val="6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B556-384C-921E-993B9FAA22DA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B556-384C-921E-993B9FAA22DA}"/>
              </c:ext>
            </c:extLst>
          </c:dPt>
          <c:dLbls>
            <c:dLbl>
              <c:idx val="0"/>
              <c:layout>
                <c:manualLayout>
                  <c:x val="3.096330275229358E-2"/>
                  <c:y val="-1.738290680830516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556-384C-921E-993B9FAA22DA}"/>
                </c:ext>
              </c:extLst>
            </c:dLbl>
            <c:dLbl>
              <c:idx val="1"/>
              <c:layout>
                <c:manualLayout>
                  <c:x val="2.8096330275229359E-2"/>
                  <c:y val="1.207146306132303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556-384C-921E-993B9FAA22DA}"/>
                </c:ext>
              </c:extLst>
            </c:dLbl>
            <c:dLbl>
              <c:idx val="2"/>
              <c:layout>
                <c:manualLayout>
                  <c:x val="-2.8669724770642203E-3"/>
                  <c:y val="5.214872042491550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556-384C-921E-993B9FAA22DA}"/>
                </c:ext>
              </c:extLst>
            </c:dLbl>
            <c:dLbl>
              <c:idx val="3"/>
              <c:layout>
                <c:manualLayout>
                  <c:x val="-3.3256880733944956E-2"/>
                  <c:y val="-5.31144374698213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556-384C-921E-993B9FAA22DA}"/>
                </c:ext>
              </c:extLst>
            </c:dLbl>
            <c:dLbl>
              <c:idx val="4"/>
              <c:layout>
                <c:manualLayout>
                  <c:x val="1.4334862385321102E-2"/>
                  <c:y val="-4.345726702076291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556-384C-921E-993B9FAA22D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8</c:f>
              <c:numCache>
                <c:formatCode>General</c:formatCode>
                <c:ptCount val="8"/>
                <c:pt idx="0">
                  <c:v>9.6</c:v>
                </c:pt>
                <c:pt idx="1">
                  <c:v>24.099999999999998</c:v>
                </c:pt>
                <c:pt idx="2">
                  <c:v>10.199999999999999</c:v>
                </c:pt>
                <c:pt idx="3">
                  <c:v>43.7</c:v>
                </c:pt>
                <c:pt idx="4">
                  <c:v>10.199999999999999</c:v>
                </c:pt>
                <c:pt idx="5">
                  <c:v>0.5</c:v>
                </c:pt>
                <c:pt idx="6">
                  <c:v>1.6</c:v>
                </c:pt>
                <c:pt idx="7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556-384C-921E-993B9FAA22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5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707035755478659E-2"/>
          <c:y val="0.12189054726368159"/>
          <c:w val="0.87658592848904271"/>
          <c:h val="0.7562189054726368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10D-304E-ACED-1F5A2FB35196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10D-304E-ACED-1F5A2FB35196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110D-304E-ACED-1F5A2FB35196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110D-304E-ACED-1F5A2FB35196}"/>
              </c:ext>
            </c:extLst>
          </c:dPt>
          <c:dPt>
            <c:idx val="4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110D-304E-ACED-1F5A2FB35196}"/>
              </c:ext>
            </c:extLst>
          </c:dPt>
          <c:dPt>
            <c:idx val="5"/>
            <c:bubble3D val="0"/>
            <c:spPr>
              <a:solidFill>
                <a:srgbClr val="FFEDB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110D-304E-ACED-1F5A2FB35196}"/>
              </c:ext>
            </c:extLst>
          </c:dPt>
          <c:dPt>
            <c:idx val="6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110D-304E-ACED-1F5A2FB35196}"/>
              </c:ext>
            </c:extLst>
          </c:dPt>
          <c:dPt>
            <c:idx val="7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110D-304E-ACED-1F5A2FB35196}"/>
              </c:ext>
            </c:extLst>
          </c:dPt>
          <c:dLbls>
            <c:dLbl>
              <c:idx val="0"/>
              <c:layout>
                <c:manualLayout>
                  <c:x val="3.2295271049596307E-2"/>
                  <c:y val="3.48258706467661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10D-304E-ACED-1F5A2FB35196}"/>
                </c:ext>
              </c:extLst>
            </c:dLbl>
            <c:dLbl>
              <c:idx val="1"/>
              <c:layout>
                <c:manualLayout>
                  <c:x val="-3.2295271049596307E-2"/>
                  <c:y val="2.985074626865671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10D-304E-ACED-1F5A2FB35196}"/>
                </c:ext>
              </c:extLst>
            </c:dLbl>
            <c:dLbl>
              <c:idx val="7"/>
              <c:layout>
                <c:manualLayout>
                  <c:x val="-1.0957324106113034E-2"/>
                  <c:y val="-5.273631840796019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10D-304E-ACED-1F5A2FB3519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8</c:f>
              <c:numCache>
                <c:formatCode>General</c:formatCode>
                <c:ptCount val="8"/>
                <c:pt idx="0">
                  <c:v>56.000000000000007</c:v>
                </c:pt>
                <c:pt idx="1">
                  <c:v>33</c:v>
                </c:pt>
                <c:pt idx="2">
                  <c:v>2.0555858660419144</c:v>
                </c:pt>
                <c:pt idx="3">
                  <c:v>0.8809653711608203</c:v>
                </c:pt>
                <c:pt idx="4">
                  <c:v>0.87294200712474734</c:v>
                </c:pt>
                <c:pt idx="5">
                  <c:v>0.85529060624538655</c:v>
                </c:pt>
                <c:pt idx="6">
                  <c:v>0.72370743605378873</c:v>
                </c:pt>
                <c:pt idx="7">
                  <c:v>5.8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10D-304E-ACED-1F5A2FB351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731275014293884E-2"/>
          <c:y val="0.1242344706911636"/>
          <c:w val="0.9405374499714122"/>
          <c:h val="0.7515310586176727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624671916010498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835-2C46-9ACA-1EE593099887}"/>
                </c:ext>
              </c:extLst>
            </c:dLbl>
            <c:dLbl>
              <c:idx val="1"/>
              <c:layout>
                <c:manualLayout>
                  <c:x val="0"/>
                  <c:y val="-3.499562554680665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835-2C46-9ACA-1EE593099887}"/>
                </c:ext>
              </c:extLst>
            </c:dLbl>
            <c:dLbl>
              <c:idx val="2"/>
              <c:layout>
                <c:manualLayout>
                  <c:x val="0"/>
                  <c:y val="-2.624671916010498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835-2C46-9ACA-1EE593099887}"/>
                </c:ext>
              </c:extLst>
            </c:dLbl>
            <c:dLbl>
              <c:idx val="3"/>
              <c:layout>
                <c:manualLayout>
                  <c:x val="0"/>
                  <c:y val="-2.624671916010498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835-2C46-9ACA-1EE593099887}"/>
                </c:ext>
              </c:extLst>
            </c:dLbl>
            <c:dLbl>
              <c:idx val="4"/>
              <c:layout>
                <c:manualLayout>
                  <c:x val="0"/>
                  <c:y val="-3.499562554680665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835-2C46-9ACA-1EE593099887}"/>
                </c:ext>
              </c:extLst>
            </c:dLbl>
            <c:dLbl>
              <c:idx val="5"/>
              <c:layout>
                <c:manualLayout>
                  <c:x val="0"/>
                  <c:y val="-2.624671916010498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835-2C46-9ACA-1EE5930998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1.65</c:v>
                </c:pt>
                <c:pt idx="1">
                  <c:v>2.09</c:v>
                </c:pt>
                <c:pt idx="2">
                  <c:v>2.42</c:v>
                </c:pt>
                <c:pt idx="3">
                  <c:v>1.65</c:v>
                </c:pt>
                <c:pt idx="4">
                  <c:v>2.09</c:v>
                </c:pt>
                <c:pt idx="5">
                  <c:v>2.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835-2C46-9ACA-1EE593099887}"/>
            </c:ext>
          </c:extLst>
        </c:ser>
        <c:ser>
          <c:idx val="1"/>
          <c:order val="1"/>
          <c:spPr>
            <a:solidFill>
              <a:srgbClr val="6F8DB9"/>
            </a:solidFill>
            <a:ln>
              <a:noFill/>
            </a:ln>
          </c:spPr>
          <c:invertIfNegative val="0"/>
          <c:dLbls>
            <c:dLbl>
              <c:idx val="3"/>
              <c:layout>
                <c:manualLayout>
                  <c:x val="0"/>
                  <c:y val="-2.624671916010498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C835-2C46-9ACA-1EE593099887}"/>
                </c:ext>
              </c:extLst>
            </c:dLbl>
            <c:dLbl>
              <c:idx val="4"/>
              <c:layout>
                <c:manualLayout>
                  <c:x val="0"/>
                  <c:y val="-3.499562554680665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C835-2C46-9ACA-1EE593099887}"/>
                </c:ext>
              </c:extLst>
            </c:dLbl>
            <c:dLbl>
              <c:idx val="5"/>
              <c:layout>
                <c:manualLayout>
                  <c:x val="0"/>
                  <c:y val="-3.499562554680665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C835-2C46-9ACA-1EE5930998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55800000000000027</c:v>
                </c:pt>
                <c:pt idx="4">
                  <c:v>0.93000000000000016</c:v>
                </c:pt>
                <c:pt idx="5">
                  <c:v>1.673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835-2C46-9ACA-1EE5930998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01966831"/>
        <c:axId val="1"/>
      </c:barChart>
      <c:catAx>
        <c:axId val="16019668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.093999999999999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0196683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7018348623853214E-2"/>
          <c:y val="0.11830033800096572"/>
          <c:w val="0.90653669724770647"/>
          <c:h val="0.7633993239980685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39BA-7547-A8BF-97E05EE0C8EE}"/>
              </c:ext>
            </c:extLst>
          </c:dPt>
          <c:dPt>
            <c:idx val="1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39BA-7547-A8BF-97E05EE0C8EE}"/>
              </c:ext>
            </c:extLst>
          </c:dPt>
          <c:dPt>
            <c:idx val="2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39BA-7547-A8BF-97E05EE0C8EE}"/>
              </c:ext>
            </c:extLst>
          </c:dPt>
          <c:dPt>
            <c:idx val="3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39BA-7547-A8BF-97E05EE0C8E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39BA-7547-A8BF-97E05EE0C8EE}"/>
              </c:ext>
            </c:extLst>
          </c:dPt>
          <c:dPt>
            <c:idx val="5"/>
            <c:bubble3D val="0"/>
            <c:spPr>
              <a:solidFill>
                <a:schemeClr val="bg2"/>
              </a:solidFill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39BA-7547-A8BF-97E05EE0C8EE}"/>
              </c:ext>
            </c:extLst>
          </c:dPt>
          <c:dPt>
            <c:idx val="6"/>
            <c:bubble3D val="0"/>
            <c:spPr>
              <a:solidFill>
                <a:schemeClr val="accent2"/>
              </a:solidFill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39BA-7547-A8BF-97E05EE0C8EE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39BA-7547-A8BF-97E05EE0C8EE}"/>
              </c:ext>
            </c:extLst>
          </c:dPt>
          <c:dLbls>
            <c:dLbl>
              <c:idx val="0"/>
              <c:layout>
                <c:manualLayout>
                  <c:x val="3.096330275229358E-2"/>
                  <c:y val="-1.738290680830516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9BA-7547-A8BF-97E05EE0C8EE}"/>
                </c:ext>
              </c:extLst>
            </c:dLbl>
            <c:dLbl>
              <c:idx val="1"/>
              <c:layout>
                <c:manualLayout>
                  <c:x val="2.8096330275229359E-2"/>
                  <c:y val="1.207146306132303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9BA-7547-A8BF-97E05EE0C8EE}"/>
                </c:ext>
              </c:extLst>
            </c:dLbl>
            <c:dLbl>
              <c:idx val="2"/>
              <c:layout>
                <c:manualLayout>
                  <c:x val="-2.8669724770642203E-3"/>
                  <c:y val="5.214872042491550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9BA-7547-A8BF-97E05EE0C8EE}"/>
                </c:ext>
              </c:extLst>
            </c:dLbl>
            <c:dLbl>
              <c:idx val="3"/>
              <c:layout>
                <c:manualLayout>
                  <c:x val="-3.3256880733944956E-2"/>
                  <c:y val="-5.31144374698213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9BA-7547-A8BF-97E05EE0C8EE}"/>
                </c:ext>
              </c:extLst>
            </c:dLbl>
            <c:dLbl>
              <c:idx val="4"/>
              <c:layout>
                <c:manualLayout>
                  <c:x val="1.4334862385321102E-2"/>
                  <c:y val="-4.345726702076291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9BA-7547-A8BF-97E05EE0C8E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8</c:f>
              <c:numCache>
                <c:formatCode>General</c:formatCode>
                <c:ptCount val="8"/>
                <c:pt idx="0">
                  <c:v>9.6</c:v>
                </c:pt>
                <c:pt idx="1">
                  <c:v>24.099999999999998</c:v>
                </c:pt>
                <c:pt idx="2">
                  <c:v>10.199999999999999</c:v>
                </c:pt>
                <c:pt idx="3">
                  <c:v>43.7</c:v>
                </c:pt>
                <c:pt idx="4">
                  <c:v>10.199999999999999</c:v>
                </c:pt>
                <c:pt idx="5">
                  <c:v>0.5</c:v>
                </c:pt>
                <c:pt idx="6">
                  <c:v>1.6</c:v>
                </c:pt>
                <c:pt idx="7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9BA-7547-A8BF-97E05EE0C8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5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39906103286385E-2"/>
          <c:y val="0.12189054726368159"/>
          <c:w val="0.892018779342723"/>
          <c:h val="0.7562189054726368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52BCA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D05-7B40-91DB-E831D2FD0937}"/>
              </c:ext>
            </c:extLst>
          </c:dPt>
          <c:dPt>
            <c:idx val="1"/>
            <c:bubble3D val="0"/>
            <c:spPr>
              <a:solidFill>
                <a:srgbClr val="C9E9D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D05-7B40-91DB-E831D2FD0937}"/>
              </c:ext>
            </c:extLst>
          </c:dPt>
          <c:dPt>
            <c:idx val="2"/>
            <c:bubble3D val="0"/>
            <c:spPr>
              <a:solidFill>
                <a:srgbClr val="38D3A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4D05-7B40-91DB-E831D2FD0937}"/>
              </c:ext>
            </c:extLst>
          </c:dPt>
          <c:dLbls>
            <c:dLbl>
              <c:idx val="0"/>
              <c:layout>
                <c:manualLayout>
                  <c:x val="2.464788732394366E-2"/>
                  <c:y val="1.940298507462686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D05-7B40-91DB-E831D2FD0937}"/>
                </c:ext>
              </c:extLst>
            </c:dLbl>
            <c:dLbl>
              <c:idx val="1"/>
              <c:layout>
                <c:manualLayout>
                  <c:x val="-2.464788732394366E-2"/>
                  <c:y val="-2.139303482587064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D05-7B40-91DB-E831D2FD093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74.709999999999994</c:v>
                </c:pt>
                <c:pt idx="1">
                  <c:v>24.709999999999997</c:v>
                </c:pt>
                <c:pt idx="2">
                  <c:v>0.57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D05-7B40-91DB-E831D2FD09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0150375939849621E-2"/>
          <c:y val="0.12189054726368159"/>
          <c:w val="0.87912087912087911"/>
          <c:h val="0.7562189054726368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0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FCD-2744-82CD-0CF93BD7A368}"/>
              </c:ext>
            </c:extLst>
          </c:dPt>
          <c:dPt>
            <c:idx val="1"/>
            <c:bubble3D val="0"/>
            <c:spPr>
              <a:solidFill>
                <a:srgbClr val="80808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FCD-2744-82CD-0CF93BD7A368}"/>
              </c:ext>
            </c:extLst>
          </c:dPt>
          <c:dPt>
            <c:idx val="2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CFCD-2744-82CD-0CF93BD7A368}"/>
              </c:ext>
            </c:extLst>
          </c:dPt>
          <c:dPt>
            <c:idx val="3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CFCD-2744-82CD-0CF93BD7A368}"/>
              </c:ext>
            </c:extLst>
          </c:dPt>
          <c:dPt>
            <c:idx val="4"/>
            <c:bubble3D val="0"/>
            <c:spPr>
              <a:solidFill>
                <a:srgbClr val="D6D6D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CFCD-2744-82CD-0CF93BD7A368}"/>
              </c:ext>
            </c:extLst>
          </c:dPt>
          <c:dPt>
            <c:idx val="5"/>
            <c:bubble3D val="0"/>
            <c:spPr>
              <a:solidFill>
                <a:srgbClr val="EBEBE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CFCD-2744-82CD-0CF93BD7A368}"/>
              </c:ext>
            </c:extLst>
          </c:dPt>
          <c:dPt>
            <c:idx val="6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CFCD-2744-82CD-0CF93BD7A368}"/>
              </c:ext>
            </c:extLst>
          </c:dPt>
          <c:dLbls>
            <c:dLbl>
              <c:idx val="0"/>
              <c:layout>
                <c:manualLayout>
                  <c:x val="2.6604973973395025E-2"/>
                  <c:y val="-1.243781094527363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FCD-2744-82CD-0CF93BD7A368}"/>
                </c:ext>
              </c:extLst>
            </c:dLbl>
            <c:dLbl>
              <c:idx val="1"/>
              <c:layout>
                <c:manualLayout>
                  <c:x val="9.8322729901677269E-3"/>
                  <c:y val="4.477611940298507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FCD-2744-82CD-0CF93BD7A368}"/>
                </c:ext>
              </c:extLst>
            </c:dLbl>
            <c:dLbl>
              <c:idx val="2"/>
              <c:layout>
                <c:manualLayout>
                  <c:x val="-2.7761711972238288E-2"/>
                  <c:y val="9.452736318407959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FCD-2744-82CD-0CF93BD7A368}"/>
                </c:ext>
              </c:extLst>
            </c:dLbl>
            <c:dLbl>
              <c:idx val="3"/>
              <c:layout>
                <c:manualLayout>
                  <c:x val="-2.7761711972238288E-2"/>
                  <c:y val="-2.089552238805970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FCD-2744-82CD-0CF93BD7A36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7</c:f>
              <c:numCache>
                <c:formatCode>General</c:formatCode>
                <c:ptCount val="7"/>
                <c:pt idx="0">
                  <c:v>36</c:v>
                </c:pt>
                <c:pt idx="1">
                  <c:v>22</c:v>
                </c:pt>
                <c:pt idx="2">
                  <c:v>20</c:v>
                </c:pt>
                <c:pt idx="3">
                  <c:v>16</c:v>
                </c:pt>
                <c:pt idx="4">
                  <c:v>4</c:v>
                </c:pt>
                <c:pt idx="5">
                  <c:v>1.8499999999999999</c:v>
                </c:pt>
                <c:pt idx="6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FCD-2744-82CD-0CF93BD7A3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289180990899899E-2"/>
          <c:y val="0.24149108589951376"/>
          <c:w val="0.88675429726996968"/>
          <c:h val="0.5170178282009724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C9E9DA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1638018200202225"/>
                  <c:y val="4.862236628849271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99E-B04E-9BAC-B810CAF7ABBC}"/>
                </c:ext>
              </c:extLst>
            </c:dLbl>
            <c:dLbl>
              <c:idx val="1"/>
              <c:layout>
                <c:manualLayout>
                  <c:x val="0.48634984833164813"/>
                  <c:y val="4.862236628849271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99E-B04E-9BAC-B810CAF7ABB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0.61</c:v>
                </c:pt>
                <c:pt idx="1">
                  <c:v>1.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99E-B04E-9BAC-B810CAF7ABBC}"/>
            </c:ext>
          </c:extLst>
        </c:ser>
        <c:ser>
          <c:idx val="1"/>
          <c:order val="1"/>
          <c:spPr>
            <a:solidFill>
              <a:srgbClr val="52BCA8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911021233569262"/>
                  <c:y val="-2.431118314424635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99E-B04E-9BAC-B810CAF7ABBC}"/>
                </c:ext>
              </c:extLst>
            </c:dLbl>
            <c:dLbl>
              <c:idx val="1"/>
              <c:layout>
                <c:manualLayout>
                  <c:x val="0.33316481294236605"/>
                  <c:y val="-2.431118314424635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99E-B04E-9BAC-B810CAF7ABB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0.52</c:v>
                </c:pt>
                <c:pt idx="1">
                  <c:v>1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99E-B04E-9BAC-B810CAF7AB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410696287"/>
        <c:axId val="1"/>
      </c:barChart>
      <c:catAx>
        <c:axId val="141069628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.5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1069628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7018348623853214E-2"/>
          <c:y val="0.11830033800096572"/>
          <c:w val="0.90653669724770647"/>
          <c:h val="0.7633993239980685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24A2-D144-9EA4-168C3424A392}"/>
              </c:ext>
            </c:extLst>
          </c:dPt>
          <c:dPt>
            <c:idx val="1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24A2-D144-9EA4-168C3424A392}"/>
              </c:ext>
            </c:extLst>
          </c:dPt>
          <c:dPt>
            <c:idx val="2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24A2-D144-9EA4-168C3424A392}"/>
              </c:ext>
            </c:extLst>
          </c:dPt>
          <c:dPt>
            <c:idx val="3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24A2-D144-9EA4-168C3424A392}"/>
              </c:ext>
            </c:extLst>
          </c:dPt>
          <c:dPt>
            <c:idx val="4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24A2-D144-9EA4-168C3424A392}"/>
              </c:ext>
            </c:extLst>
          </c:dPt>
          <c:dPt>
            <c:idx val="5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24A2-D144-9EA4-168C3424A392}"/>
              </c:ext>
            </c:extLst>
          </c:dPt>
          <c:dPt>
            <c:idx val="6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24A2-D144-9EA4-168C3424A392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24A2-D144-9EA4-168C3424A392}"/>
              </c:ext>
            </c:extLst>
          </c:dPt>
          <c:dLbls>
            <c:dLbl>
              <c:idx val="0"/>
              <c:layout>
                <c:manualLayout>
                  <c:x val="3.096330275229358E-2"/>
                  <c:y val="-1.738290680830516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4A2-D144-9EA4-168C3424A392}"/>
                </c:ext>
              </c:extLst>
            </c:dLbl>
            <c:dLbl>
              <c:idx val="1"/>
              <c:layout>
                <c:manualLayout>
                  <c:x val="2.8096330275229359E-2"/>
                  <c:y val="1.207146306132303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4A2-D144-9EA4-168C3424A392}"/>
                </c:ext>
              </c:extLst>
            </c:dLbl>
            <c:dLbl>
              <c:idx val="2"/>
              <c:layout>
                <c:manualLayout>
                  <c:x val="-2.8669724770642203E-3"/>
                  <c:y val="5.214872042491550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4A2-D144-9EA4-168C3424A392}"/>
                </c:ext>
              </c:extLst>
            </c:dLbl>
            <c:dLbl>
              <c:idx val="3"/>
              <c:layout>
                <c:manualLayout>
                  <c:x val="-3.3256880733944956E-2"/>
                  <c:y val="-5.31144374698213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4A2-D144-9EA4-168C3424A392}"/>
                </c:ext>
              </c:extLst>
            </c:dLbl>
            <c:dLbl>
              <c:idx val="4"/>
              <c:layout>
                <c:manualLayout>
                  <c:x val="1.4334862385321102E-2"/>
                  <c:y val="-4.345726702076291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4A2-D144-9EA4-168C3424A39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8</c:f>
              <c:numCache>
                <c:formatCode>General</c:formatCode>
                <c:ptCount val="8"/>
                <c:pt idx="0">
                  <c:v>9.6</c:v>
                </c:pt>
                <c:pt idx="1">
                  <c:v>24.099999999999998</c:v>
                </c:pt>
                <c:pt idx="2">
                  <c:v>10.199999999999999</c:v>
                </c:pt>
                <c:pt idx="3">
                  <c:v>43.7</c:v>
                </c:pt>
                <c:pt idx="4">
                  <c:v>10.199999999999999</c:v>
                </c:pt>
                <c:pt idx="5">
                  <c:v>0.5</c:v>
                </c:pt>
                <c:pt idx="6">
                  <c:v>1.6</c:v>
                </c:pt>
                <c:pt idx="7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4A2-D144-9EA4-168C3424A3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5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292953285827395E-2"/>
          <c:y val="0.10438074634937804"/>
          <c:w val="0.97941409342834518"/>
          <c:h val="0.791238507301243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857-7243-819A-8AD15CF54811}"/>
              </c:ext>
            </c:extLst>
          </c:dPt>
          <c:dLbls>
            <c:dLbl>
              <c:idx val="0"/>
              <c:layout>
                <c:manualLayout>
                  <c:x val="0"/>
                  <c:y val="-1.622498647917793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857-7243-819A-8AD15CF54811}"/>
                </c:ext>
              </c:extLst>
            </c:dLbl>
            <c:dLbl>
              <c:idx val="1"/>
              <c:layout>
                <c:manualLayout>
                  <c:x val="0"/>
                  <c:y val="-1.622498647917793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857-7243-819A-8AD15CF54811}"/>
                </c:ext>
              </c:extLst>
            </c:dLbl>
            <c:dLbl>
              <c:idx val="2"/>
              <c:layout>
                <c:manualLayout>
                  <c:x val="0"/>
                  <c:y val="-2.16333153055705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857-7243-819A-8AD15CF548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0.32959426932205854</c:v>
                </c:pt>
                <c:pt idx="1">
                  <c:v>0.37742669867847906</c:v>
                </c:pt>
                <c:pt idx="2">
                  <c:v>0.434731865544935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857-7243-819A-8AD15CF54811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FEDB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0857-7243-819A-8AD15CF54811}"/>
              </c:ext>
            </c:extLst>
          </c:dPt>
          <c:dLbls>
            <c:dLbl>
              <c:idx val="0"/>
              <c:layout>
                <c:manualLayout>
                  <c:x val="0"/>
                  <c:y val="-1.622498647917793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857-7243-819A-8AD15CF54811}"/>
                </c:ext>
              </c:extLst>
            </c:dLbl>
            <c:dLbl>
              <c:idx val="1"/>
              <c:layout>
                <c:manualLayout>
                  <c:x val="0"/>
                  <c:y val="-1.622498647917793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857-7243-819A-8AD15CF54811}"/>
                </c:ext>
              </c:extLst>
            </c:dLbl>
            <c:dLbl>
              <c:idx val="2"/>
              <c:layout>
                <c:manualLayout>
                  <c:x val="0"/>
                  <c:y val="-1.622498647917793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857-7243-819A-8AD15CF548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0.83107953120431888</c:v>
                </c:pt>
                <c:pt idx="1">
                  <c:v>0.45765748590670835</c:v>
                </c:pt>
                <c:pt idx="2">
                  <c:v>0.490707620913098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857-7243-819A-8AD15CF54811}"/>
            </c:ext>
          </c:extLst>
        </c:ser>
        <c:ser>
          <c:idx val="2"/>
          <c:order val="2"/>
          <c:spPr>
            <a:solidFill>
              <a:srgbClr val="FFEDB9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0857-7243-819A-8AD15CF54811}"/>
              </c:ext>
            </c:extLst>
          </c:dPt>
          <c:dLbls>
            <c:dLbl>
              <c:idx val="0"/>
              <c:layout>
                <c:manualLayout>
                  <c:x val="0"/>
                  <c:y val="-1.622498647917793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0857-7243-819A-8AD15CF54811}"/>
                </c:ext>
              </c:extLst>
            </c:dLbl>
            <c:dLbl>
              <c:idx val="1"/>
              <c:layout>
                <c:manualLayout>
                  <c:x val="0"/>
                  <c:y val="-2.16333153055705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0857-7243-819A-8AD15CF548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0.35009936313912537</c:v>
                </c:pt>
                <c:pt idx="1">
                  <c:v>0.44017004751527089</c:v>
                </c:pt>
                <c:pt idx="2">
                  <c:v>6.8657124207027742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0857-7243-819A-8AD15CF54811}"/>
            </c:ext>
          </c:extLst>
        </c:ser>
        <c:ser>
          <c:idx val="3"/>
          <c:order val="3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C-0857-7243-819A-8AD15CF54811}"/>
              </c:ext>
            </c:extLst>
          </c:dPt>
          <c:dLbls>
            <c:dLbl>
              <c:idx val="0"/>
              <c:layout>
                <c:manualLayout>
                  <c:x val="0"/>
                  <c:y val="-1.622498647917793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0857-7243-819A-8AD15CF548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D$4</c:f>
              <c:numCache>
                <c:formatCode>General</c:formatCode>
                <c:ptCount val="4"/>
                <c:pt idx="0">
                  <c:v>1.5039701749105774</c:v>
                </c:pt>
                <c:pt idx="1">
                  <c:v>2.3369927950711578E-4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0857-7243-819A-8AD15CF54811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0857-7243-819A-8AD15CF54811}"/>
              </c:ext>
            </c:extLst>
          </c:dPt>
          <c:dLbls>
            <c:dLbl>
              <c:idx val="0"/>
              <c:layout>
                <c:manualLayout>
                  <c:x val="0"/>
                  <c:y val="-1.622498647917793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0857-7243-819A-8AD15CF548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D$5</c:f>
              <c:numCache>
                <c:formatCode>General</c:formatCode>
                <c:ptCount val="4"/>
                <c:pt idx="0">
                  <c:v>0.35120108348331591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0857-7243-819A-8AD15CF54811}"/>
            </c:ext>
          </c:extLst>
        </c:ser>
        <c:ser>
          <c:idx val="5"/>
          <c:order val="5"/>
          <c:spPr>
            <a:solidFill>
              <a:schemeClr val="bg2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2-0857-7243-819A-8AD15CF54811}"/>
              </c:ext>
            </c:extLst>
          </c:dPt>
          <c:val>
            <c:numRef>
              <c:f>Sheet1!$A$6:$D$6</c:f>
              <c:numCache>
                <c:formatCode>General</c:formatCode>
                <c:ptCount val="4"/>
                <c:pt idx="0">
                  <c:v>1.8927116447472692E-2</c:v>
                </c:pt>
                <c:pt idx="1">
                  <c:v>1.1066575708934989E-2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0857-7243-819A-8AD15CF54811}"/>
            </c:ext>
          </c:extLst>
        </c:ser>
        <c:ser>
          <c:idx val="6"/>
          <c:order val="6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4-0857-7243-819A-8AD15CF54811}"/>
              </c:ext>
            </c:extLst>
          </c:dPt>
          <c:val>
            <c:numRef>
              <c:f>Sheet1!$A$7:$D$7</c:f>
              <c:numCache>
                <c:formatCode>General</c:formatCode>
                <c:ptCount val="4"/>
                <c:pt idx="0">
                  <c:v>5.5418291738508874E-2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0857-7243-819A-8AD15CF54811}"/>
            </c:ext>
          </c:extLst>
        </c:ser>
        <c:ser>
          <c:idx val="7"/>
          <c:order val="7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6-0857-7243-819A-8AD15CF54811}"/>
              </c:ext>
            </c:extLst>
          </c:dPt>
          <c:val>
            <c:numRef>
              <c:f>Sheet1!$A$8:$D$8</c:f>
              <c:numCache>
                <c:formatCode>General</c:formatCode>
                <c:ptCount val="4"/>
                <c:pt idx="0">
                  <c:v>2.0724203845725597E-3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0857-7243-819A-8AD15CF548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22585007"/>
        <c:axId val="1"/>
      </c:barChart>
      <c:catAx>
        <c:axId val="192258500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.44236225062995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2258500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500292568753657E-2"/>
          <c:y val="0.12189054726368159"/>
          <c:w val="0.88940901111761261"/>
          <c:h val="0.7562189054726368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5B9CF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F6C-1E47-B6F1-E4DFF25749A5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F6C-1E47-B6F1-E4DFF25749A5}"/>
              </c:ext>
            </c:extLst>
          </c:dPt>
          <c:dLbls>
            <c:dLbl>
              <c:idx val="0"/>
              <c:layout>
                <c:manualLayout>
                  <c:x val="-1.9309537741369221E-2"/>
                  <c:y val="3.034825870646766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F6C-1E47-B6F1-E4DFF25749A5}"/>
                </c:ext>
              </c:extLst>
            </c:dLbl>
            <c:dLbl>
              <c:idx val="1"/>
              <c:layout>
                <c:manualLayout>
                  <c:x val="2.047981275599766E-2"/>
                  <c:y val="-3.582089552238806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F6C-1E47-B6F1-E4DFF25749A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85</c:v>
                </c:pt>
                <c:pt idx="1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6C-1E47-B6F1-E4DFF25749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54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4115523465703972"/>
          <c:y val="6.706586826347305E-2"/>
          <c:w val="0.51696750902527078"/>
          <c:h val="0.865868263473053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596806387225548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638-4448-8ADC-970AB82532A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638-4448-8ADC-970AB82532AE}"/>
            </c:ext>
          </c:extLst>
        </c:ser>
        <c:ser>
          <c:idx val="1"/>
          <c:order val="1"/>
          <c:spPr>
            <a:solidFill>
              <a:srgbClr val="80808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197604790419161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638-4448-8ADC-970AB82532A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11.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638-4448-8ADC-970AB82532AE}"/>
            </c:ext>
          </c:extLst>
        </c:ser>
        <c:ser>
          <c:idx val="2"/>
          <c:order val="2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197604790419161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638-4448-8ADC-970AB82532A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10.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638-4448-8ADC-970AB82532AE}"/>
            </c:ext>
          </c:extLst>
        </c:ser>
        <c:ser>
          <c:idx val="3"/>
          <c:order val="3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197604790419161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9638-4448-8ADC-970AB82532A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</c:f>
              <c:numCache>
                <c:formatCode>General</c:formatCode>
                <c:ptCount val="1"/>
                <c:pt idx="0">
                  <c:v>9.99999999999999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638-4448-8ADC-970AB82532AE}"/>
            </c:ext>
          </c:extLst>
        </c:ser>
        <c:ser>
          <c:idx val="4"/>
          <c:order val="4"/>
          <c:spPr>
            <a:solidFill>
              <a:srgbClr val="C0C0C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197604790419161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9638-4448-8ADC-970AB82532A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</c:f>
              <c:numCache>
                <c:formatCode>General</c:formatCode>
                <c:ptCount val="1"/>
                <c:pt idx="0">
                  <c:v>9.99999999999999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638-4448-8ADC-970AB82532AE}"/>
            </c:ext>
          </c:extLst>
        </c:ser>
        <c:ser>
          <c:idx val="5"/>
          <c:order val="5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197604790419161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9638-4448-8ADC-970AB82532A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</c:f>
              <c:numCache>
                <c:formatCode>General</c:formatCode>
                <c:ptCount val="1"/>
                <c:pt idx="0">
                  <c:v>7.99999999999999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638-4448-8ADC-970AB82532AE}"/>
            </c:ext>
          </c:extLst>
        </c:ser>
        <c:ser>
          <c:idx val="6"/>
          <c:order val="6"/>
          <c:spPr>
            <a:solidFill>
              <a:srgbClr val="D6D7D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197604790419161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9638-4448-8ADC-970AB82532A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</c:f>
              <c:numCache>
                <c:formatCode>General</c:formatCode>
                <c:ptCount val="1"/>
                <c:pt idx="0">
                  <c:v>6.00000000000000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9638-4448-8ADC-970AB82532AE}"/>
            </c:ext>
          </c:extLst>
        </c:ser>
        <c:ser>
          <c:idx val="7"/>
          <c:order val="7"/>
          <c:spPr>
            <a:solidFill>
              <a:srgbClr val="C3CFE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197604790419161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9638-4448-8ADC-970AB82532A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8</c:f>
              <c:numCache>
                <c:formatCode>General</c:formatCode>
                <c:ptCount val="1"/>
                <c:pt idx="0">
                  <c:v>6.00000000000000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9638-4448-8ADC-970AB82532AE}"/>
            </c:ext>
          </c:extLst>
        </c:ser>
        <c:ser>
          <c:idx val="8"/>
          <c:order val="8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596806387225548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9638-4448-8ADC-970AB82532A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9</c:f>
              <c:numCache>
                <c:formatCode>General</c:formatCode>
                <c:ptCount val="1"/>
                <c:pt idx="0">
                  <c:v>4.00000000000000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9638-4448-8ADC-970AB82532AE}"/>
            </c:ext>
          </c:extLst>
        </c:ser>
        <c:ser>
          <c:idx val="9"/>
          <c:order val="9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197604790419161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9638-4448-8ADC-970AB82532A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0</c:f>
              <c:numCache>
                <c:formatCode>General</c:formatCode>
                <c:ptCount val="1"/>
                <c:pt idx="0">
                  <c:v>4.00000000000000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9638-4448-8ADC-970AB82532AE}"/>
            </c:ext>
          </c:extLst>
        </c:ser>
        <c:ser>
          <c:idx val="10"/>
          <c:order val="1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197604790419161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9638-4448-8ADC-970AB82532A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1</c:f>
              <c:numCache>
                <c:formatCode>General</c:formatCode>
                <c:ptCount val="1"/>
                <c:pt idx="0">
                  <c:v>12.999999999999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9638-4448-8ADC-970AB82532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93205295"/>
        <c:axId val="1"/>
      </c:barChart>
      <c:catAx>
        <c:axId val="13932052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-5"/>
        </c:scaling>
        <c:delete val="1"/>
        <c:axPos val="l"/>
        <c:numFmt formatCode="General" sourceLinked="1"/>
        <c:majorTickMark val="out"/>
        <c:minorTickMark val="none"/>
        <c:tickLblPos val="nextTo"/>
        <c:crossAx val="13932052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630406290956749E-2"/>
          <c:y val="0.10438074634937804"/>
          <c:w val="0.97273918741808652"/>
          <c:h val="0.7912385073012439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 w="12700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622498647917793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749-A54C-B7FB-1068A08128DC}"/>
                </c:ext>
              </c:extLst>
            </c:dLbl>
            <c:dLbl>
              <c:idx val="1"/>
              <c:layout>
                <c:manualLayout>
                  <c:x val="0"/>
                  <c:y val="-1.622498647917793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749-A54C-B7FB-1068A08128DC}"/>
                </c:ext>
              </c:extLst>
            </c:dLbl>
            <c:dLbl>
              <c:idx val="2"/>
              <c:layout>
                <c:manualLayout>
                  <c:x val="0"/>
                  <c:y val="-2.16333153055705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749-A54C-B7FB-1068A08128D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0.32959427000000002</c:v>
                </c:pt>
                <c:pt idx="1">
                  <c:v>0.3774267</c:v>
                </c:pt>
                <c:pt idx="2">
                  <c:v>0.43473187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749-A54C-B7FB-1068A08128DC}"/>
            </c:ext>
          </c:extLst>
        </c:ser>
        <c:ser>
          <c:idx val="1"/>
          <c:order val="1"/>
          <c:spPr>
            <a:noFill/>
            <a:ln w="12700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bg1"/>
              </a:solidFill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F749-A54C-B7FB-1068A08128DC}"/>
              </c:ext>
            </c:extLst>
          </c:dPt>
          <c:dPt>
            <c:idx val="2"/>
            <c:invertIfNegative val="0"/>
            <c:bubble3D val="0"/>
            <c:spPr>
              <a:solidFill>
                <a:srgbClr val="FFEDB9"/>
              </a:solidFill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F749-A54C-B7FB-1068A08128DC}"/>
              </c:ext>
            </c:extLst>
          </c:dPt>
          <c:dLbls>
            <c:dLbl>
              <c:idx val="0"/>
              <c:layout>
                <c:manualLayout>
                  <c:x val="0"/>
                  <c:y val="-1.622498647917793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749-A54C-B7FB-1068A08128DC}"/>
                </c:ext>
              </c:extLst>
            </c:dLbl>
            <c:dLbl>
              <c:idx val="1"/>
              <c:layout>
                <c:manualLayout>
                  <c:x val="0"/>
                  <c:y val="-1.622498647917793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749-A54C-B7FB-1068A08128DC}"/>
                </c:ext>
              </c:extLst>
            </c:dLbl>
            <c:dLbl>
              <c:idx val="2"/>
              <c:layout>
                <c:manualLayout>
                  <c:x val="0"/>
                  <c:y val="-1.622498647917793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749-A54C-B7FB-1068A08128D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0.83107953000000001</c:v>
                </c:pt>
                <c:pt idx="1">
                  <c:v>0.45765749</c:v>
                </c:pt>
                <c:pt idx="2">
                  <c:v>0.49070762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749-A54C-B7FB-1068A08128DC}"/>
            </c:ext>
          </c:extLst>
        </c:ser>
        <c:ser>
          <c:idx val="2"/>
          <c:order val="2"/>
          <c:spPr>
            <a:solidFill>
              <a:srgbClr val="FFEDB9"/>
            </a:solidFill>
            <a:ln w="12700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6"/>
              </a:solidFill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F749-A54C-B7FB-1068A08128DC}"/>
              </c:ext>
            </c:extLst>
          </c:dPt>
          <c:dLbls>
            <c:dLbl>
              <c:idx val="0"/>
              <c:layout>
                <c:manualLayout>
                  <c:x val="0"/>
                  <c:y val="-1.622498647917793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F749-A54C-B7FB-1068A08128DC}"/>
                </c:ext>
              </c:extLst>
            </c:dLbl>
            <c:dLbl>
              <c:idx val="1"/>
              <c:layout>
                <c:manualLayout>
                  <c:x val="0"/>
                  <c:y val="-2.16333153055705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F749-A54C-B7FB-1068A08128D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0.35009935999999997</c:v>
                </c:pt>
                <c:pt idx="1">
                  <c:v>0.44017004999999998</c:v>
                </c:pt>
                <c:pt idx="2">
                  <c:v>6.8657000000005297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F749-A54C-B7FB-1068A08128DC}"/>
            </c:ext>
          </c:extLst>
        </c:ser>
        <c:ser>
          <c:idx val="3"/>
          <c:order val="3"/>
          <c:spPr>
            <a:solidFill>
              <a:schemeClr val="accent6"/>
            </a:solidFill>
            <a:ln w="12700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F749-A54C-B7FB-1068A08128DC}"/>
              </c:ext>
            </c:extLst>
          </c:dPt>
          <c:dLbls>
            <c:dLbl>
              <c:idx val="0"/>
              <c:layout>
                <c:manualLayout>
                  <c:x val="0"/>
                  <c:y val="-1.622498647917793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F749-A54C-B7FB-1068A08128D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C$4</c:f>
              <c:numCache>
                <c:formatCode>General</c:formatCode>
                <c:ptCount val="3"/>
                <c:pt idx="0">
                  <c:v>1.5039701699999999</c:v>
                </c:pt>
                <c:pt idx="1">
                  <c:v>2.3369999999989233E-4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F749-A54C-B7FB-1068A08128DC}"/>
            </c:ext>
          </c:extLst>
        </c:ser>
        <c:ser>
          <c:idx val="4"/>
          <c:order val="4"/>
          <c:spPr>
            <a:noFill/>
            <a:ln w="12700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622498647917793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F749-A54C-B7FB-1068A08128D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C$5</c:f>
              <c:numCache>
                <c:formatCode>General</c:formatCode>
                <c:ptCount val="3"/>
                <c:pt idx="0">
                  <c:v>0.35120108000000005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F749-A54C-B7FB-1068A08128DC}"/>
            </c:ext>
          </c:extLst>
        </c:ser>
        <c:ser>
          <c:idx val="5"/>
          <c:order val="5"/>
          <c:spPr>
            <a:noFill/>
            <a:ln w="12700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6:$C$6</c:f>
              <c:numCache>
                <c:formatCode>General</c:formatCode>
                <c:ptCount val="3"/>
                <c:pt idx="0">
                  <c:v>1.8927119999999853E-2</c:v>
                </c:pt>
                <c:pt idx="1">
                  <c:v>1.1066580000000048E-2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F749-A54C-B7FB-1068A08128DC}"/>
            </c:ext>
          </c:extLst>
        </c:ser>
        <c:ser>
          <c:idx val="6"/>
          <c:order val="6"/>
          <c:spPr>
            <a:noFill/>
            <a:ln w="12700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2-F749-A54C-B7FB-1068A08128DC}"/>
              </c:ext>
            </c:extLst>
          </c:dPt>
          <c:val>
            <c:numRef>
              <c:f>Sheet1!$A$7:$C$7</c:f>
              <c:numCache>
                <c:formatCode>General</c:formatCode>
                <c:ptCount val="3"/>
                <c:pt idx="0">
                  <c:v>5.5418289999999981E-2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F749-A54C-B7FB-1068A08128DC}"/>
            </c:ext>
          </c:extLst>
        </c:ser>
        <c:ser>
          <c:idx val="7"/>
          <c:order val="7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F749-A54C-B7FB-1068A08128DC}"/>
              </c:ext>
            </c:extLst>
          </c:dPt>
          <c:val>
            <c:numRef>
              <c:f>Sheet1!$A$8:$C$8</c:f>
              <c:numCache>
                <c:formatCode>General</c:formatCode>
                <c:ptCount val="3"/>
                <c:pt idx="0">
                  <c:v>2.0724200000001858E-3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F749-A54C-B7FB-1068A08128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65108511"/>
        <c:axId val="1"/>
      </c:barChart>
      <c:catAx>
        <c:axId val="17651085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.4423622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651085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625704045058884E-2"/>
          <c:y val="0.10474561778537837"/>
          <c:w val="0.94674859190988225"/>
          <c:h val="0.7905087644292432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32E-9A4B-A6D9-BF67FDB59C91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32E-9A4B-A6D9-BF67FDB59C91}"/>
              </c:ext>
            </c:extLst>
          </c:dPt>
          <c:dPt>
            <c:idx val="2"/>
            <c:bubble3D val="0"/>
            <c:spPr>
              <a:solidFill>
                <a:srgbClr val="FFEDB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D32E-9A4B-A6D9-BF67FDB59C91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D32E-9A4B-A6D9-BF67FDB59C9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D32E-9A4B-A6D9-BF67FDB59C91}"/>
              </c:ext>
            </c:extLst>
          </c:dPt>
          <c:dPt>
            <c:idx val="5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D32E-9A4B-A6D9-BF67FDB59C91}"/>
              </c:ext>
            </c:extLst>
          </c:dPt>
          <c:dPt>
            <c:idx val="6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D32E-9A4B-A6D9-BF67FDB59C91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D32E-9A4B-A6D9-BF67FDB59C91}"/>
              </c:ext>
            </c:extLst>
          </c:dPt>
          <c:dLbls>
            <c:dLbl>
              <c:idx val="0"/>
              <c:layout>
                <c:manualLayout>
                  <c:x val="4.7107014848950336E-2"/>
                  <c:y val="-1.966652415562206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32E-9A4B-A6D9-BF67FDB59C91}"/>
                </c:ext>
              </c:extLst>
            </c:dLbl>
            <c:dLbl>
              <c:idx val="1"/>
              <c:layout>
                <c:manualLayout>
                  <c:x val="3.8914490527393757E-2"/>
                  <c:y val="2.223172295852928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32E-9A4B-A6D9-BF67FDB59C91}"/>
                </c:ext>
              </c:extLst>
            </c:dLbl>
            <c:dLbl>
              <c:idx val="2"/>
              <c:layout>
                <c:manualLayout>
                  <c:x val="-8.1925243215565796E-3"/>
                  <c:y val="6.241983753740915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32E-9A4B-A6D9-BF67FDB59C91}"/>
                </c:ext>
              </c:extLst>
            </c:dLbl>
            <c:dLbl>
              <c:idx val="3"/>
              <c:layout>
                <c:manualLayout>
                  <c:x val="-4.8131080389144903E-2"/>
                  <c:y val="-1.197092774690038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32E-9A4B-A6D9-BF67FDB59C91}"/>
                </c:ext>
              </c:extLst>
            </c:dLbl>
            <c:dLbl>
              <c:idx val="4"/>
              <c:layout>
                <c:manualLayout>
                  <c:x val="2.3553507424475168E-2"/>
                  <c:y val="-5.344164172723386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32E-9A4B-A6D9-BF67FDB59C9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8</c:f>
              <c:numCache>
                <c:formatCode>General</c:formatCode>
                <c:ptCount val="8"/>
                <c:pt idx="0">
                  <c:v>9.6</c:v>
                </c:pt>
                <c:pt idx="1">
                  <c:v>24.099999999999998</c:v>
                </c:pt>
                <c:pt idx="2">
                  <c:v>10.199999999999999</c:v>
                </c:pt>
                <c:pt idx="3">
                  <c:v>43.7</c:v>
                </c:pt>
                <c:pt idx="4">
                  <c:v>10.199999999999999</c:v>
                </c:pt>
                <c:pt idx="5">
                  <c:v>0.5</c:v>
                </c:pt>
                <c:pt idx="6">
                  <c:v>1.5767062221474875</c:v>
                </c:pt>
                <c:pt idx="7">
                  <c:v>6.125290185044604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32E-9A4B-A6D9-BF67FDB59C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4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0150375939849621E-2"/>
          <c:y val="0.12189054726368159"/>
          <c:w val="0.87912087912087911"/>
          <c:h val="0.7562189054726368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BB4-7A49-93EC-544FED2B954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BB4-7A49-93EC-544FED2B954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BBB4-7A49-93EC-544FED2B954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BB4-7A49-93EC-544FED2B954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BBB4-7A49-93EC-544FED2B954A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BBB4-7A49-93EC-544FED2B954A}"/>
              </c:ext>
            </c:extLst>
          </c:dPt>
          <c:dPt>
            <c:idx val="6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BBB4-7A49-93EC-544FED2B954A}"/>
              </c:ext>
            </c:extLst>
          </c:dPt>
          <c:dLbls>
            <c:dLbl>
              <c:idx val="0"/>
              <c:layout>
                <c:manualLayout>
                  <c:x val="1.0410641989589358E-2"/>
                  <c:y val="4.328358208955224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BB4-7A49-93EC-544FED2B954A}"/>
                </c:ext>
              </c:extLst>
            </c:dLbl>
            <c:dLbl>
              <c:idx val="1"/>
              <c:layout>
                <c:manualLayout>
                  <c:x val="-1.5037593984962405E-2"/>
                  <c:y val="-5.024875621890547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BB4-7A49-93EC-544FED2B954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7</c:f>
              <c:numCache>
                <c:formatCode>General</c:formatCode>
                <c:ptCount val="7"/>
                <c:pt idx="0">
                  <c:v>93.331012532325445</c:v>
                </c:pt>
                <c:pt idx="1">
                  <c:v>4.8687089715536107</c:v>
                </c:pt>
                <c:pt idx="2">
                  <c:v>1.1156421987931835</c:v>
                </c:pt>
                <c:pt idx="3">
                  <c:v>0.57025396193886346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BB4-7A49-93EC-544FED2B95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7018348623853214E-2"/>
          <c:y val="0.11830033800096572"/>
          <c:w val="0.90653669724770647"/>
          <c:h val="0.7633993239980685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C93E-B541-9D27-0FF82CF9925D}"/>
              </c:ext>
            </c:extLst>
          </c:dPt>
          <c:dPt>
            <c:idx val="1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C93E-B541-9D27-0FF82CF9925D}"/>
              </c:ext>
            </c:extLst>
          </c:dPt>
          <c:dPt>
            <c:idx val="2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C93E-B541-9D27-0FF82CF9925D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C93E-B541-9D27-0FF82CF9925D}"/>
              </c:ext>
            </c:extLst>
          </c:dPt>
          <c:dPt>
            <c:idx val="4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C93E-B541-9D27-0FF82CF9925D}"/>
              </c:ext>
            </c:extLst>
          </c:dPt>
          <c:dPt>
            <c:idx val="5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C93E-B541-9D27-0FF82CF9925D}"/>
              </c:ext>
            </c:extLst>
          </c:dPt>
          <c:dPt>
            <c:idx val="6"/>
            <c:bubble3D val="0"/>
            <c:spPr>
              <a:noFill/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C93E-B541-9D27-0FF82CF9925D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C93E-B541-9D27-0FF82CF9925D}"/>
              </c:ext>
            </c:extLst>
          </c:dPt>
          <c:dLbls>
            <c:dLbl>
              <c:idx val="0"/>
              <c:layout>
                <c:manualLayout>
                  <c:x val="3.096330275229358E-2"/>
                  <c:y val="-1.738290680830516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93E-B541-9D27-0FF82CF9925D}"/>
                </c:ext>
              </c:extLst>
            </c:dLbl>
            <c:dLbl>
              <c:idx val="1"/>
              <c:layout>
                <c:manualLayout>
                  <c:x val="2.8096330275229359E-2"/>
                  <c:y val="1.207146306132303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93E-B541-9D27-0FF82CF9925D}"/>
                </c:ext>
              </c:extLst>
            </c:dLbl>
            <c:dLbl>
              <c:idx val="2"/>
              <c:layout>
                <c:manualLayout>
                  <c:x val="-2.8669724770642203E-3"/>
                  <c:y val="5.214872042491550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93E-B541-9D27-0FF82CF9925D}"/>
                </c:ext>
              </c:extLst>
            </c:dLbl>
            <c:dLbl>
              <c:idx val="3"/>
              <c:layout>
                <c:manualLayout>
                  <c:x val="-3.3256880733944956E-2"/>
                  <c:y val="-5.31144374698213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93E-B541-9D27-0FF82CF9925D}"/>
                </c:ext>
              </c:extLst>
            </c:dLbl>
            <c:dLbl>
              <c:idx val="4"/>
              <c:layout>
                <c:manualLayout>
                  <c:x val="1.4334862385321102E-2"/>
                  <c:y val="-4.345726702076291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93E-B541-9D27-0FF82CF9925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8</c:f>
              <c:numCache>
                <c:formatCode>General</c:formatCode>
                <c:ptCount val="8"/>
                <c:pt idx="0">
                  <c:v>9.6</c:v>
                </c:pt>
                <c:pt idx="1">
                  <c:v>24.099999999999998</c:v>
                </c:pt>
                <c:pt idx="2">
                  <c:v>10.199999999999999</c:v>
                </c:pt>
                <c:pt idx="3">
                  <c:v>43.7</c:v>
                </c:pt>
                <c:pt idx="4">
                  <c:v>10.199999999999999</c:v>
                </c:pt>
                <c:pt idx="5">
                  <c:v>0.5</c:v>
                </c:pt>
                <c:pt idx="6">
                  <c:v>1.6</c:v>
                </c:pt>
                <c:pt idx="7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93E-B541-9D27-0FF82CF992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5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149171270718231E-2"/>
          <c:y val="0.12189054726368159"/>
          <c:w val="0.93308778391651315"/>
          <c:h val="0.7562189054726368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F7B-D545-9789-EC1901DE30D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F7B-D545-9789-EC1901DE30D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DF7B-D545-9789-EC1901DE30D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DF7B-D545-9789-EC1901DE30D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DF7B-D545-9789-EC1901DE30D1}"/>
              </c:ext>
            </c:extLst>
          </c:dPt>
          <c:dPt>
            <c:idx val="5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DF7B-D545-9789-EC1901DE30D1}"/>
              </c:ext>
            </c:extLst>
          </c:dPt>
          <c:dPt>
            <c:idx val="6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DF7B-D545-9789-EC1901DE30D1}"/>
              </c:ext>
            </c:extLst>
          </c:dPt>
          <c:dLbls>
            <c:dLbl>
              <c:idx val="0"/>
              <c:layout>
                <c:manualLayout>
                  <c:x val="2.4554941682013505E-2"/>
                  <c:y val="2.686567164179104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F7B-D545-9789-EC1901DE30D1}"/>
                </c:ext>
              </c:extLst>
            </c:dLbl>
            <c:dLbl>
              <c:idx val="1"/>
              <c:layout>
                <c:manualLayout>
                  <c:x val="-4.1743400859422956E-2"/>
                  <c:y val="-2.437810945273631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F7B-D545-9789-EC1901DE30D1}"/>
                </c:ext>
              </c:extLst>
            </c:dLbl>
            <c:dLbl>
              <c:idx val="2"/>
              <c:layout>
                <c:manualLayout>
                  <c:x val="-2.7010435850214856E-2"/>
                  <c:y val="-4.129353233830845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F7B-D545-9789-EC1901DE30D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7</c:f>
              <c:numCache>
                <c:formatCode>General</c:formatCode>
                <c:ptCount val="7"/>
                <c:pt idx="0">
                  <c:v>80.569748134952562</c:v>
                </c:pt>
                <c:pt idx="1">
                  <c:v>8.0712609922938583</c:v>
                </c:pt>
                <c:pt idx="2">
                  <c:v>6.7187869571003649</c:v>
                </c:pt>
                <c:pt idx="3">
                  <c:v>2.8025396866279197</c:v>
                </c:pt>
                <c:pt idx="4">
                  <c:v>1.5124066156420546</c:v>
                </c:pt>
                <c:pt idx="5">
                  <c:v>0.3172683393889954</c:v>
                </c:pt>
                <c:pt idx="6">
                  <c:v>7.989273994221925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F7B-D545-9789-EC1901DE30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807447774750226E-2"/>
          <c:y val="2.0816653322658127E-2"/>
          <c:w val="0.97638510445049953"/>
          <c:h val="0.9583666933546837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K$1</c:f>
              <c:numCache>
                <c:formatCode>General</c:formatCode>
                <c:ptCount val="11"/>
                <c:pt idx="0">
                  <c:v>1.3955670159827973</c:v>
                </c:pt>
                <c:pt idx="1">
                  <c:v>1.7499081283630844</c:v>
                </c:pt>
                <c:pt idx="2">
                  <c:v>1.6822364160988572</c:v>
                </c:pt>
                <c:pt idx="3">
                  <c:v>1.3475677565352404</c:v>
                </c:pt>
                <c:pt idx="4">
                  <c:v>1.1977283683466791</c:v>
                </c:pt>
                <c:pt idx="5">
                  <c:v>1.1665821136732764</c:v>
                </c:pt>
                <c:pt idx="6">
                  <c:v>0.8862797877680505</c:v>
                </c:pt>
                <c:pt idx="7">
                  <c:v>0.78876967557334055</c:v>
                </c:pt>
                <c:pt idx="8">
                  <c:v>0.78816055273200725</c:v>
                </c:pt>
                <c:pt idx="9">
                  <c:v>0.58696673015407053</c:v>
                </c:pt>
                <c:pt idx="10">
                  <c:v>6.270395993918087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D3-614A-A08E-CB8039D530C0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2:$K$2</c:f>
              <c:numCache>
                <c:formatCode>General</c:formatCode>
                <c:ptCount val="11"/>
                <c:pt idx="0">
                  <c:v>0.20517143594281229</c:v>
                </c:pt>
                <c:pt idx="1">
                  <c:v>4.348899885588775E-2</c:v>
                </c:pt>
                <c:pt idx="2">
                  <c:v>0</c:v>
                </c:pt>
                <c:pt idx="3">
                  <c:v>0.11206118265139287</c:v>
                </c:pt>
                <c:pt idx="4">
                  <c:v>0.26967334110441055</c:v>
                </c:pt>
                <c:pt idx="5">
                  <c:v>0.11376552028502984</c:v>
                </c:pt>
                <c:pt idx="6">
                  <c:v>4.8197962886764811E-2</c:v>
                </c:pt>
                <c:pt idx="7">
                  <c:v>0.22210342283023998</c:v>
                </c:pt>
                <c:pt idx="8">
                  <c:v>2.9108369229985498E-2</c:v>
                </c:pt>
                <c:pt idx="9">
                  <c:v>0.18393555076873869</c:v>
                </c:pt>
                <c:pt idx="10">
                  <c:v>9.637878182962633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D3-614A-A08E-CB8039D530C0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K$3</c:f>
              <c:numCache>
                <c:formatCode>General</c:formatCode>
                <c:ptCount val="11"/>
                <c:pt idx="0">
                  <c:v>6.2823325043115608E-2</c:v>
                </c:pt>
                <c:pt idx="1">
                  <c:v>6.1793869983632899E-3</c:v>
                </c:pt>
                <c:pt idx="2">
                  <c:v>4.9424605924953235E-2</c:v>
                </c:pt>
                <c:pt idx="3">
                  <c:v>2.8862504796002053E-2</c:v>
                </c:pt>
                <c:pt idx="4">
                  <c:v>7.1064113996052169E-2</c:v>
                </c:pt>
                <c:pt idx="5">
                  <c:v>2.3536582295635711E-3</c:v>
                </c:pt>
                <c:pt idx="6">
                  <c:v>4.7263002214221084E-2</c:v>
                </c:pt>
                <c:pt idx="7">
                  <c:v>4.5378678898346347E-2</c:v>
                </c:pt>
                <c:pt idx="8">
                  <c:v>2.4762359060740091E-2</c:v>
                </c:pt>
                <c:pt idx="9">
                  <c:v>1.6128222844615903E-2</c:v>
                </c:pt>
                <c:pt idx="10">
                  <c:v>4.489871427057573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AD3-614A-A08E-CB8039D530C0}"/>
            </c:ext>
          </c:extLst>
        </c:ser>
        <c:ser>
          <c:idx val="3"/>
          <c:order val="3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4:$K$4</c:f>
              <c:numCache>
                <c:formatCode>General</c:formatCode>
                <c:ptCount val="11"/>
                <c:pt idx="0">
                  <c:v>0.1490391601328962</c:v>
                </c:pt>
                <c:pt idx="1">
                  <c:v>1.6648623295721476E-2</c:v>
                </c:pt>
                <c:pt idx="2">
                  <c:v>0</c:v>
                </c:pt>
                <c:pt idx="3">
                  <c:v>0.11842455745722269</c:v>
                </c:pt>
                <c:pt idx="4">
                  <c:v>3.1955188208282026E-2</c:v>
                </c:pt>
                <c:pt idx="5">
                  <c:v>7.7793958863710655E-2</c:v>
                </c:pt>
                <c:pt idx="6">
                  <c:v>7.7233511343658967E-2</c:v>
                </c:pt>
                <c:pt idx="7">
                  <c:v>0</c:v>
                </c:pt>
                <c:pt idx="8">
                  <c:v>7.4557531046242742E-2</c:v>
                </c:pt>
                <c:pt idx="9">
                  <c:v>2.5547615475345342E-3</c:v>
                </c:pt>
                <c:pt idx="10">
                  <c:v>9.37381324998612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AD3-614A-A08E-CB8039D530C0}"/>
            </c:ext>
          </c:extLst>
        </c:ser>
        <c:ser>
          <c:idx val="4"/>
          <c:order val="4"/>
          <c:spPr>
            <a:solidFill>
              <a:srgbClr val="D84C44"/>
            </a:solidFill>
            <a:ln>
              <a:noFill/>
            </a:ln>
          </c:spPr>
          <c:invertIfNegative val="0"/>
          <c:val>
            <c:numRef>
              <c:f>Sheet1!$A$5:$K$5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7.1518729415174231E-3</c:v>
                </c:pt>
                <c:pt idx="9">
                  <c:v>0</c:v>
                </c:pt>
                <c:pt idx="10">
                  <c:v>0.12177178262209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AD3-614A-A08E-CB8039D530C0}"/>
            </c:ext>
          </c:extLst>
        </c:ser>
        <c:ser>
          <c:idx val="5"/>
          <c:order val="5"/>
          <c:spPr>
            <a:solidFill>
              <a:srgbClr val="AA3B35"/>
            </a:solidFill>
            <a:ln>
              <a:noFill/>
            </a:ln>
          </c:spPr>
          <c:invertIfNegative val="0"/>
          <c:val>
            <c:numRef>
              <c:f>Sheet1!$A$6:$K$6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7.2313074818923351E-2</c:v>
                </c:pt>
                <c:pt idx="9">
                  <c:v>0</c:v>
                </c:pt>
                <c:pt idx="10">
                  <c:v>2.031104492392077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AD3-614A-A08E-CB8039D530C0}"/>
            </c:ext>
          </c:extLst>
        </c:ser>
        <c:ser>
          <c:idx val="6"/>
          <c:order val="6"/>
          <c:spPr>
            <a:solidFill>
              <a:srgbClr val="C30C3E"/>
            </a:solidFill>
            <a:ln>
              <a:noFill/>
            </a:ln>
          </c:spPr>
          <c:invertIfNegative val="0"/>
          <c:val>
            <c:numRef>
              <c:f>Sheet1!$A$7:$K$7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5.4507031780659521E-3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.282134710822491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AD3-614A-A08E-CB8039D530C0}"/>
            </c:ext>
          </c:extLst>
        </c:ser>
        <c:ser>
          <c:idx val="7"/>
          <c:order val="7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8:$K$8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.1277857974551608E-2</c:v>
                </c:pt>
                <c:pt idx="6">
                  <c:v>0</c:v>
                </c:pt>
                <c:pt idx="7">
                  <c:v>0</c:v>
                </c:pt>
                <c:pt idx="8">
                  <c:v>9.5491105911835739E-3</c:v>
                </c:pt>
                <c:pt idx="9">
                  <c:v>3.6618248847995694E-2</c:v>
                </c:pt>
                <c:pt idx="10">
                  <c:v>2.183437329321474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AD3-614A-A08E-CB8039D530C0}"/>
            </c:ext>
          </c:extLst>
        </c:ser>
        <c:ser>
          <c:idx val="8"/>
          <c:order val="8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9:$K$9</c:f>
              <c:numCache>
                <c:formatCode>General</c:formatCode>
                <c:ptCount val="11"/>
                <c:pt idx="0">
                  <c:v>6.9468930828846087E-2</c:v>
                </c:pt>
                <c:pt idx="1">
                  <c:v>1.1954211599779274E-2</c:v>
                </c:pt>
                <c:pt idx="2">
                  <c:v>0</c:v>
                </c:pt>
                <c:pt idx="3">
                  <c:v>1.905535120026558E-3</c:v>
                </c:pt>
                <c:pt idx="4">
                  <c:v>2.1534761495994204E-2</c:v>
                </c:pt>
                <c:pt idx="5">
                  <c:v>8.0732675666461695E-3</c:v>
                </c:pt>
                <c:pt idx="6">
                  <c:v>1.2930963247899552E-2</c:v>
                </c:pt>
                <c:pt idx="7">
                  <c:v>0</c:v>
                </c:pt>
                <c:pt idx="8">
                  <c:v>2.5079111798447684E-2</c:v>
                </c:pt>
                <c:pt idx="9">
                  <c:v>0</c:v>
                </c:pt>
                <c:pt idx="10">
                  <c:v>5.966369446401720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AD3-614A-A08E-CB8039D530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42346031"/>
        <c:axId val="1"/>
      </c:barChart>
      <c:catAx>
        <c:axId val="134234603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.882069867930467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34234603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807447774750226E-2"/>
          <c:y val="6.9424460431654678E-2"/>
          <c:w val="0.97638510445049953"/>
          <c:h val="0.8611510791366906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FA5-A84C-AFF5-0C81AAF43A9F}"/>
                </c:ext>
              </c:extLst>
            </c:dLbl>
            <c:dLbl>
              <c:idx val="1"/>
              <c:layout>
                <c:manualLayout>
                  <c:x val="-2.2706630336058128E-4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FA5-A84C-AFF5-0C81AAF43A9F}"/>
                </c:ext>
              </c:extLst>
            </c:dLbl>
            <c:dLbl>
              <c:idx val="2"/>
              <c:layout>
                <c:manualLayout>
                  <c:x val="-2.2706630336058128E-4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FA5-A84C-AFF5-0C81AAF43A9F}"/>
                </c:ext>
              </c:extLst>
            </c:dLbl>
            <c:dLbl>
              <c:idx val="3"/>
              <c:layout>
                <c:manualLayout>
                  <c:x val="0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FA5-A84C-AFF5-0C81AAF43A9F}"/>
                </c:ext>
              </c:extLst>
            </c:dLbl>
            <c:dLbl>
              <c:idx val="4"/>
              <c:layout>
                <c:manualLayout>
                  <c:x val="-2.2706630336058128E-4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FA5-A84C-AFF5-0C81AAF43A9F}"/>
                </c:ext>
              </c:extLst>
            </c:dLbl>
            <c:dLbl>
              <c:idx val="5"/>
              <c:layout>
                <c:manualLayout>
                  <c:x val="-2.2706630336058128E-4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FA5-A84C-AFF5-0C81AAF43A9F}"/>
                </c:ext>
              </c:extLst>
            </c:dLbl>
            <c:dLbl>
              <c:idx val="6"/>
              <c:layout>
                <c:manualLayout>
                  <c:x val="-2.2706630336058128E-4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FA5-A84C-AFF5-0C81AAF43A9F}"/>
                </c:ext>
              </c:extLst>
            </c:dLbl>
            <c:dLbl>
              <c:idx val="7"/>
              <c:layout>
                <c:manualLayout>
                  <c:x val="0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FA5-A84C-AFF5-0C81AAF43A9F}"/>
                </c:ext>
              </c:extLst>
            </c:dLbl>
            <c:dLbl>
              <c:idx val="8"/>
              <c:layout>
                <c:manualLayout>
                  <c:x val="-2.2706630336058128E-4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0FA5-A84C-AFF5-0C81AAF43A9F}"/>
                </c:ext>
              </c:extLst>
            </c:dLbl>
            <c:dLbl>
              <c:idx val="9"/>
              <c:layout>
                <c:manualLayout>
                  <c:x val="0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0FA5-A84C-AFF5-0C81AAF43A9F}"/>
                </c:ext>
              </c:extLst>
            </c:dLbl>
            <c:dLbl>
              <c:idx val="10"/>
              <c:layout>
                <c:manualLayout>
                  <c:x val="0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0FA5-A84C-AFF5-0C81AAF43A9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74.15064869602152</c:v>
                </c:pt>
                <c:pt idx="1">
                  <c:v>75.236284107043318</c:v>
                </c:pt>
                <c:pt idx="2">
                  <c:v>82.682663080923518</c:v>
                </c:pt>
                <c:pt idx="3">
                  <c:v>95.718624609356041</c:v>
                </c:pt>
                <c:pt idx="4">
                  <c:v>84.211692257826215</c:v>
                </c:pt>
                <c:pt idx="5">
                  <c:v>97.145826735350894</c:v>
                </c:pt>
                <c:pt idx="6">
                  <c:v>83.704347823145255</c:v>
                </c:pt>
                <c:pt idx="7">
                  <c:v>76.469809924794248</c:v>
                </c:pt>
                <c:pt idx="8">
                  <c:v>74.676293334924509</c:v>
                </c:pt>
                <c:pt idx="9">
                  <c:v>16.703076264454587</c:v>
                </c:pt>
                <c:pt idx="10">
                  <c:v>71.0438433257862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0FA5-A84C-AFF5-0C81AAF43A9F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2.2706630336058128E-4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0FA5-A84C-AFF5-0C81AAF43A9F}"/>
                </c:ext>
              </c:extLst>
            </c:dLbl>
            <c:dLbl>
              <c:idx val="1"/>
              <c:layout>
                <c:manualLayout>
                  <c:x val="0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0FA5-A84C-AFF5-0C81AAF43A9F}"/>
                </c:ext>
              </c:extLst>
            </c:dLbl>
            <c:dLbl>
              <c:idx val="2"/>
              <c:layout>
                <c:manualLayout>
                  <c:x val="0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0FA5-A84C-AFF5-0C81AAF43A9F}"/>
                </c:ext>
              </c:extLst>
            </c:dLbl>
            <c:dLbl>
              <c:idx val="4"/>
              <c:layout>
                <c:manualLayout>
                  <c:x val="-2.2706630336058128E-4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0FA5-A84C-AFF5-0C81AAF43A9F}"/>
                </c:ext>
              </c:extLst>
            </c:dLbl>
            <c:dLbl>
              <c:idx val="6"/>
              <c:layout>
                <c:manualLayout>
                  <c:x val="0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0FA5-A84C-AFF5-0C81AAF43A9F}"/>
                </c:ext>
              </c:extLst>
            </c:dLbl>
            <c:dLbl>
              <c:idx val="8"/>
              <c:layout>
                <c:manualLayout>
                  <c:x val="0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0FA5-A84C-AFF5-0C81AAF43A9F}"/>
                </c:ext>
              </c:extLst>
            </c:dLbl>
            <c:dLbl>
              <c:idx val="10"/>
              <c:layout>
                <c:manualLayout>
                  <c:x val="-2.2706630336058128E-4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0FA5-A84C-AFF5-0C81AAF43A9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K$2</c:f>
              <c:numCache>
                <c:formatCode>General</c:formatCode>
                <c:ptCount val="11"/>
                <c:pt idx="0">
                  <c:v>10.901371911788782</c:v>
                </c:pt>
                <c:pt idx="1">
                  <c:v>16.939750817987122</c:v>
                </c:pt>
                <c:pt idx="2">
                  <c:v>4.4964761484509674</c:v>
                </c:pt>
                <c:pt idx="3">
                  <c:v>2.3788146866986382</c:v>
                </c:pt>
                <c:pt idx="4">
                  <c:v>8.212355454026433</c:v>
                </c:pt>
                <c:pt idx="5">
                  <c:v>0</c:v>
                </c:pt>
                <c:pt idx="6">
                  <c:v>6.9606950482715142</c:v>
                </c:pt>
                <c:pt idx="7">
                  <c:v>2.8241853192500277</c:v>
                </c:pt>
                <c:pt idx="8">
                  <c:v>21.027507607852503</c:v>
                </c:pt>
                <c:pt idx="9">
                  <c:v>2.5673372857741517</c:v>
                </c:pt>
                <c:pt idx="10">
                  <c:v>22.262741275687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0FA5-A84C-AFF5-0C81AAF43A9F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0FA5-A84C-AFF5-0C81AAF43A9F}"/>
                </c:ext>
              </c:extLst>
            </c:dLbl>
            <c:dLbl>
              <c:idx val="2"/>
              <c:layout>
                <c:manualLayout>
                  <c:x val="-2.2706630336058128E-4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0FA5-A84C-AFF5-0C81AAF43A9F}"/>
                </c:ext>
              </c:extLst>
            </c:dLbl>
            <c:dLbl>
              <c:idx val="8"/>
              <c:layout>
                <c:manualLayout>
                  <c:x val="-2.2706630336058128E-4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0FA5-A84C-AFF5-0C81AAF43A9F}"/>
                </c:ext>
              </c:extLst>
            </c:dLbl>
            <c:dLbl>
              <c:idx val="9"/>
              <c:layout>
                <c:manualLayout>
                  <c:x val="0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0FA5-A84C-AFF5-0C81AAF43A9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K$3</c:f>
              <c:numCache>
                <c:formatCode>General</c:formatCode>
                <c:ptCount val="11"/>
                <c:pt idx="0">
                  <c:v>3.3379911189055034</c:v>
                </c:pt>
                <c:pt idx="1">
                  <c:v>4.4639502676242282</c:v>
                </c:pt>
                <c:pt idx="2">
                  <c:v>4.4092519565549493</c:v>
                </c:pt>
                <c:pt idx="3">
                  <c:v>0.33800770156177107</c:v>
                </c:pt>
                <c:pt idx="4">
                  <c:v>0.16990277853996538</c:v>
                </c:pt>
                <c:pt idx="5">
                  <c:v>2.8541732646491291</c:v>
                </c:pt>
                <c:pt idx="6">
                  <c:v>1.7927982684175947</c:v>
                </c:pt>
                <c:pt idx="7">
                  <c:v>2.402521775671973</c:v>
                </c:pt>
                <c:pt idx="8">
                  <c:v>4.2961990572229825</c:v>
                </c:pt>
                <c:pt idx="9">
                  <c:v>11.96011622495271</c:v>
                </c:pt>
                <c:pt idx="10">
                  <c:v>1.95208838598995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0FA5-A84C-AFF5-0C81AAF43A9F}"/>
            </c:ext>
          </c:extLst>
        </c:ser>
        <c:ser>
          <c:idx val="3"/>
          <c:order val="3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0FA5-A84C-AFF5-0C81AAF43A9F}"/>
                </c:ext>
              </c:extLst>
            </c:dLbl>
            <c:dLbl>
              <c:idx val="2"/>
              <c:layout>
                <c:manualLayout>
                  <c:x val="0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0FA5-A84C-AFF5-0C81AAF43A9F}"/>
                </c:ext>
              </c:extLst>
            </c:dLbl>
            <c:dLbl>
              <c:idx val="4"/>
              <c:layout>
                <c:manualLayout>
                  <c:x val="0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0FA5-A84C-AFF5-0C81AAF43A9F}"/>
                </c:ext>
              </c:extLst>
            </c:dLbl>
            <c:dLbl>
              <c:idx val="6"/>
              <c:layout>
                <c:manualLayout>
                  <c:x val="0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0FA5-A84C-AFF5-0C81AAF43A9F}"/>
                </c:ext>
              </c:extLst>
            </c:dLbl>
            <c:dLbl>
              <c:idx val="7"/>
              <c:layout>
                <c:manualLayout>
                  <c:x val="0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0FA5-A84C-AFF5-0C81AAF43A9F}"/>
                </c:ext>
              </c:extLst>
            </c:dLbl>
            <c:dLbl>
              <c:idx val="9"/>
              <c:layout>
                <c:manualLayout>
                  <c:x val="0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0FA5-A84C-AFF5-0C81AAF43A9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K$4</c:f>
              <c:numCache>
                <c:formatCode>General</c:formatCode>
                <c:ptCount val="11"/>
                <c:pt idx="0">
                  <c:v>7.9188962467573232</c:v>
                </c:pt>
                <c:pt idx="1">
                  <c:v>2.0072912041409263</c:v>
                </c:pt>
                <c:pt idx="2">
                  <c:v>7.2052555921039314</c:v>
                </c:pt>
                <c:pt idx="3">
                  <c:v>0.91066685026283123</c:v>
                </c:pt>
                <c:pt idx="4">
                  <c:v>5.6156877827663765</c:v>
                </c:pt>
                <c:pt idx="5">
                  <c:v>0</c:v>
                </c:pt>
                <c:pt idx="6">
                  <c:v>7.3559569083843641</c:v>
                </c:pt>
                <c:pt idx="7">
                  <c:v>7.2338056095364252</c:v>
                </c:pt>
                <c:pt idx="8">
                  <c:v>0</c:v>
                </c:pt>
                <c:pt idx="9">
                  <c:v>24.969956882330592</c:v>
                </c:pt>
                <c:pt idx="10">
                  <c:v>0.309216979078441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0FA5-A84C-AFF5-0C81AAF43A9F}"/>
            </c:ext>
          </c:extLst>
        </c:ser>
        <c:ser>
          <c:idx val="4"/>
          <c:order val="4"/>
          <c:spPr>
            <a:solidFill>
              <a:srgbClr val="D84C44"/>
            </a:solidFill>
            <a:ln>
              <a:noFill/>
            </a:ln>
          </c:spPr>
          <c:invertIfNegative val="0"/>
          <c:dLbls>
            <c:dLbl>
              <c:idx val="9"/>
              <c:layout>
                <c:manualLayout>
                  <c:x val="0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0FA5-A84C-AFF5-0C81AAF43A9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K$5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.69389715401054763</c:v>
                </c:pt>
                <c:pt idx="8">
                  <c:v>0</c:v>
                </c:pt>
                <c:pt idx="9">
                  <c:v>32.437558552414956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0FA5-A84C-AFF5-0C81AAF43A9F}"/>
            </c:ext>
          </c:extLst>
        </c:ser>
        <c:ser>
          <c:idx val="5"/>
          <c:order val="5"/>
          <c:spPr>
            <a:solidFill>
              <a:srgbClr val="AA3B35"/>
            </a:solidFill>
            <a:ln>
              <a:noFill/>
            </a:ln>
          </c:spPr>
          <c:invertIfNegative val="0"/>
          <c:dLbls>
            <c:dLbl>
              <c:idx val="7"/>
              <c:layout>
                <c:manualLayout>
                  <c:x val="0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0FA5-A84C-AFF5-0C81AAF43A9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K$6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7.016041423682795</c:v>
                </c:pt>
                <c:pt idx="8">
                  <c:v>0</c:v>
                </c:pt>
                <c:pt idx="9">
                  <c:v>0.54104546619395677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3-0FA5-A84C-AFF5-0C81AAF43A9F}"/>
            </c:ext>
          </c:extLst>
        </c:ser>
        <c:ser>
          <c:idx val="6"/>
          <c:order val="6"/>
          <c:spPr>
            <a:solidFill>
              <a:srgbClr val="C30C3E"/>
            </a:solidFill>
            <a:ln>
              <a:noFill/>
            </a:ln>
          </c:spPr>
          <c:invertIfNegative val="0"/>
          <c:val>
            <c:numRef>
              <c:f>Sheet1!$A$7:$K$7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.3934681778848148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.4153495053493188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4-0FA5-A84C-AFF5-0C81AAF43A9F}"/>
            </c:ext>
          </c:extLst>
        </c:ser>
        <c:ser>
          <c:idx val="7"/>
          <c:order val="7"/>
          <c:spPr>
            <a:solidFill>
              <a:schemeClr val="bg2"/>
            </a:solidFill>
            <a:ln>
              <a:noFill/>
            </a:ln>
          </c:spPr>
          <c:invertIfNegative val="0"/>
          <c:dLbls>
            <c:dLbl>
              <c:idx val="9"/>
              <c:layout>
                <c:manualLayout>
                  <c:x val="0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5-0FA5-A84C-AFF5-0C81AAF43A9F}"/>
                </c:ext>
              </c:extLst>
            </c:dLbl>
            <c:dLbl>
              <c:idx val="10"/>
              <c:layout>
                <c:manualLayout>
                  <c:x val="-2.2706630336058128E-4"/>
                  <c:y val="1.0791366906474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6-0FA5-A84C-AFF5-0C81AAF43A9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8:$K$8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.81411114909858417</c:v>
                </c:pt>
                <c:pt idx="5">
                  <c:v>0</c:v>
                </c:pt>
                <c:pt idx="6">
                  <c:v>0</c:v>
                </c:pt>
                <c:pt idx="7">
                  <c:v>0.92648467285946223</c:v>
                </c:pt>
                <c:pt idx="8">
                  <c:v>0</c:v>
                </c:pt>
                <c:pt idx="9">
                  <c:v>5.8162387615849909</c:v>
                </c:pt>
                <c:pt idx="10">
                  <c:v>4.43211003345760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7-0FA5-A84C-AFF5-0C81AAF43A9F}"/>
            </c:ext>
          </c:extLst>
        </c:ser>
        <c:ser>
          <c:idx val="8"/>
          <c:order val="8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9:$K$9</c:f>
              <c:numCache>
                <c:formatCode>General</c:formatCode>
                <c:ptCount val="11"/>
                <c:pt idx="0">
                  <c:v>3.6910920265268654</c:v>
                </c:pt>
                <c:pt idx="1">
                  <c:v>1.3527236032043977</c:v>
                </c:pt>
                <c:pt idx="2">
                  <c:v>1.2063532219666273</c:v>
                </c:pt>
                <c:pt idx="3">
                  <c:v>0.65388615212070844</c:v>
                </c:pt>
                <c:pt idx="4">
                  <c:v>0.58278239985761759</c:v>
                </c:pt>
                <c:pt idx="5">
                  <c:v>0</c:v>
                </c:pt>
                <c:pt idx="6">
                  <c:v>0.11836256373929377</c:v>
                </c:pt>
                <c:pt idx="7">
                  <c:v>2.4332541201945279</c:v>
                </c:pt>
                <c:pt idx="8">
                  <c:v>0</c:v>
                </c:pt>
                <c:pt idx="9">
                  <c:v>1.5893210569447369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0FA5-A84C-AFF5-0C81AAF43A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02277936"/>
        <c:axId val="1"/>
      </c:barChart>
      <c:catAx>
        <c:axId val="60227793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6022779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D5D981-5859-5049-9D8B-E136395024AE}" type="datetimeFigureOut">
              <a:rPr lang="fr-FR" smtClean="0"/>
              <a:t>23/12/2025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F39644-25D2-7A45-94B6-34033E4EC3F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25275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F39644-25D2-7A45-94B6-34033E4EC3FD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60704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noProof="1">
                <a:solidFill>
                  <a:srgbClr val="000000"/>
                </a:solidFill>
                <a:latin typeface="Century Gothic" panose="020B0502020202020204" pitchFamily="34" charset="0"/>
              </a:rPr>
              <a:t>Ces</a:t>
            </a:r>
            <a:r>
              <a:rPr lang="en-GB" sz="1200">
                <a:solidFill>
                  <a:srgbClr val="000000"/>
                </a:solidFill>
                <a:latin typeface="Century Gothic" panose="020B0502020202020204" pitchFamily="34" charset="0"/>
              </a:rPr>
              <a:t> itérations nous permis de faire une v1 sur excel, puis une V2, puis de proposer une V3 sur plate-forme (ratios, simplifier le formulaire, postes importants, ...)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24237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F39644-25D2-7A45-94B6-34033E4EC3FD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799886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B2FCDB-EE45-A2A9-D73E-BB977D0417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ED3CDEDE-277A-DF0F-A726-D156F58577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349F6187-B613-9E9C-C751-3848037A1E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8676655-DB8A-8E95-5F3B-71D119354D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F39644-25D2-7A45-94B6-34033E4EC3FD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295021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F39644-25D2-7A45-94B6-34033E4EC3FD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692811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5455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9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. PAGE-standard-titre+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pied de page 21">
            <a:extLst>
              <a:ext uri="{FF2B5EF4-FFF2-40B4-BE49-F238E27FC236}">
                <a16:creationId xmlns:a16="http://schemas.microsoft.com/office/drawing/2014/main" id="{EC98A262-2C05-1141-A8C6-A219AD4ADA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0361" y="6179795"/>
            <a:ext cx="8499114" cy="400050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sz="1000" i="0" smtClean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EF42B427-5F62-EF49-A3DB-B11439E88F43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536575" y="1484313"/>
            <a:ext cx="11115675" cy="4279899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27B4189-0641-E548-88DA-A30D1A2E6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Titre</a:t>
            </a:r>
          </a:p>
        </p:txBody>
      </p:sp>
      <p:sp>
        <p:nvSpPr>
          <p:cNvPr id="10" name="Espace réservé du numéro de diapositive 18">
            <a:extLst>
              <a:ext uri="{FF2B5EF4-FFF2-40B4-BE49-F238E27FC236}">
                <a16:creationId xmlns:a16="http://schemas.microsoft.com/office/drawing/2014/main" id="{8520D29F-265B-C04B-83DD-4ED91386E8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200" b="0">
                <a:solidFill>
                  <a:schemeClr val="accent1"/>
                </a:solidFill>
              </a:defRPr>
            </a:lvl1pPr>
          </a:lstStyle>
          <a:p>
            <a:fld id="{3B5A6716-DBF2-AF4C-9665-1BA53E8D7A1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ED4607BA-20B7-904A-851E-54DEDEB7A9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9990318" y="6407232"/>
            <a:ext cx="931321" cy="145377"/>
          </a:xfrm>
          <a:prstGeom prst="rect">
            <a:avLst/>
          </a:prstGeom>
          <a:noFill/>
        </p:spPr>
      </p:pic>
      <p:pic>
        <p:nvPicPr>
          <p:cNvPr id="3" name="Image 2" descr="Une image contenant Graphique, Police, graphisme, capture d’écran&#10;&#10;Description générée automatiquement">
            <a:extLst>
              <a:ext uri="{FF2B5EF4-FFF2-40B4-BE49-F238E27FC236}">
                <a16:creationId xmlns:a16="http://schemas.microsoft.com/office/drawing/2014/main" id="{D12433E7-7921-401A-CA87-28C835A4B97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50" y="6347795"/>
            <a:ext cx="791813" cy="199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9500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F7A85BA-723C-54F0-02E1-E77FAA5CCF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EC3BAEDA-84EB-2EAE-3ADE-941EF8F89C8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FAB4CAE-C539-A0AE-275E-62F8E82652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C1E7F98-EB51-49FE-3BDE-69D9439A98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B2506B1-CD3D-BFE5-EB06-6C156F84F8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33A71-8A69-9649-A97B-3DE17970289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487433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8E9FEB-1CFE-0FE9-7D91-2263203320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5F372FF-0426-21B6-4B13-2E1182D52B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AE6A20F-5992-187D-3203-D9B1615ADA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BC8B464-60CB-E115-8D4F-CA9351E73D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1C8D7B0-33C5-1E82-0FE9-494A4C3B65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33A71-8A69-9649-A97B-3DE17970289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805655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C1303C5-CBFA-FFA1-9233-C086DB16FF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E0EAA0E-3972-B04A-F29C-23DCFFFECE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93714E7-9946-C486-F985-06B372473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B85ADC9-DE91-ED42-815C-41AD0C913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DC00F1B-4A79-4DB0-C6AC-187137DDC4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33A71-8A69-9649-A97B-3DE17970289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4660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7873CA9-9EB3-FC26-40B5-8364F1121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403120F-2534-23C5-33F2-57D7327935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DD710F5-15F1-263C-5CE3-A0061AF899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E6C67C31-82AE-BF3B-BB18-203C5DB940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4CC502A7-7C40-4623-5BF8-48DE5BE05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F740D0A-351C-1685-E7A2-5D5E38FA66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33A71-8A69-9649-A97B-3DE17970289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408146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7146855-0C8F-BB8F-9B3D-AD13828D67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E3D9ECA-CEDC-8C77-9B6A-80CE59670F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11448BC-A74E-A910-65DF-CFE23B4F30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69A12466-134B-1F9A-79F5-086F89A56C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AF90795E-DBB6-C1E0-46A7-ADE24ABD0C5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BC9DAB18-10E6-0011-E395-9DF09F43A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DD4B65EF-A7B3-D1B0-BCC5-164B07A453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B7662EAD-7BFE-FBE5-0AF9-376DD8D0D6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33A71-8A69-9649-A97B-3DE17970289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238179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8F6D32C-0AE6-C885-B4C4-7BF2E0F21A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93E848F8-B778-C57B-51C1-A38866F4BC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107CF4BA-E09A-BE0E-A096-AB1F88B0F5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051C5C91-B5B7-2B37-77A1-D40DD7D6A2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33A71-8A69-9649-A97B-3DE17970289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668115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89DCA8C-9BF9-A080-59CA-46CF17ABF3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6652901-C375-EB7D-9F3C-36DFB37FD4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CEE346FF-54D8-AE89-2E3D-CF0E956D80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33A71-8A69-9649-A97B-3DE17970289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043088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D3D85A-3271-73C1-7F11-1AF40FFD70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0798284-D194-5ED1-1F9D-8664677948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7666EFC-6037-4138-004C-709B36BB229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FFE5EAC-DD42-7280-7452-0FDE38E04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67CA0B5-F1B7-2CAA-9DF3-7056CC6C9C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A70034A-1A8E-FDD7-0511-79CB1B4CB9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33A71-8A69-9649-A97B-3DE17970289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10814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AD9FBE1-906E-822B-50C1-745BDAF367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538FD004-B77F-1757-A49D-A92FB31DEA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8298E5B-7317-0A0F-1A60-D25FCF77D3B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ED4FEBA-6314-89DA-BDAF-2E6B8685E8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811F997-56E9-747C-CDD1-7E97DA96DA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6B37767-53E2-5E88-5BA0-A2285EF810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33A71-8A69-9649-A97B-3DE17970289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54691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7BEC8F8-B6F7-135B-D921-2943DE7826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1CC25FC8-D879-026D-9881-44EC4A17CF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5047A4F-16AF-2A55-9B71-ADE52A7B0A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BE81817-8CDC-40DC-2A95-4DEBF6FDEB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3B75F5E-2126-757E-2F3F-D22A493190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33A71-8A69-9649-A97B-3DE17970289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188264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. PAGE-standard-titre_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5494B95-1F29-044B-A910-00151438DD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Titre</a:t>
            </a:r>
          </a:p>
        </p:txBody>
      </p:sp>
      <p:sp>
        <p:nvSpPr>
          <p:cNvPr id="11" name="Espace réservé du numéro de diapositive 18">
            <a:extLst>
              <a:ext uri="{FF2B5EF4-FFF2-40B4-BE49-F238E27FC236}">
                <a16:creationId xmlns:a16="http://schemas.microsoft.com/office/drawing/2014/main" id="{062A5E12-47A6-6A41-93E9-892AEF0EE2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200" b="0">
                <a:solidFill>
                  <a:schemeClr val="accent1"/>
                </a:solidFill>
              </a:defRPr>
            </a:lvl1pPr>
          </a:lstStyle>
          <a:p>
            <a:fld id="{3B5A6716-DBF2-AF4C-9665-1BA53E8D7A1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9D78A4D0-8C28-434D-A70C-10123983D7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9990318" y="6407232"/>
            <a:ext cx="931321" cy="145377"/>
          </a:xfrm>
          <a:prstGeom prst="rect">
            <a:avLst/>
          </a:prstGeom>
          <a:noFill/>
        </p:spPr>
      </p:pic>
      <p:sp>
        <p:nvSpPr>
          <p:cNvPr id="7" name="Espace réservé du pied de page 21">
            <a:extLst>
              <a:ext uri="{FF2B5EF4-FFF2-40B4-BE49-F238E27FC236}">
                <a16:creationId xmlns:a16="http://schemas.microsoft.com/office/drawing/2014/main" id="{36844B9E-F0DC-02C7-9E7B-663EE897DA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0361" y="6179795"/>
            <a:ext cx="8499114" cy="400050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sz="1000" i="0" smtClean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9" name="Espace réservé du texte 3">
            <a:extLst>
              <a:ext uri="{FF2B5EF4-FFF2-40B4-BE49-F238E27FC236}">
                <a16:creationId xmlns:a16="http://schemas.microsoft.com/office/drawing/2014/main" id="{BDFE22D8-C005-B744-1FF0-639C2AB95E2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6575" y="1484313"/>
            <a:ext cx="11115675" cy="4279899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3" name="Image 2" descr="Une image contenant Graphique, Police, graphisme, capture d’écran&#10;&#10;Description générée automatiquement">
            <a:extLst>
              <a:ext uri="{FF2B5EF4-FFF2-40B4-BE49-F238E27FC236}">
                <a16:creationId xmlns:a16="http://schemas.microsoft.com/office/drawing/2014/main" id="{0419EE04-4B3E-CBBB-6B7A-B96C9D5E043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50" y="6347795"/>
            <a:ext cx="791813" cy="199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2488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952F3F4D-95BC-9ADE-AE04-00878F6FDE9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198DCE77-C441-D492-A5D9-3114E8F944E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3EA7344-9715-CF4E-ED2D-339A658A7B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6B65CEF-2154-69CC-4EEE-40831A9CAE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D2E4B60-F954-4AAA-E0ED-A2F6E3B05C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33A71-8A69-9649-A97B-3DE17970289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994620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. COUVERTURE-sim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>
            <a:extLst>
              <a:ext uri="{FF2B5EF4-FFF2-40B4-BE49-F238E27FC236}">
                <a16:creationId xmlns:a16="http://schemas.microsoft.com/office/drawing/2014/main" id="{8CE2F40F-8BDA-684C-9EEC-69D64349F3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821" y="2373775"/>
            <a:ext cx="7331704" cy="1052596"/>
          </a:xfrm>
        </p:spPr>
        <p:txBody>
          <a:bodyPr>
            <a:noAutofit/>
          </a:bodyPr>
          <a:lstStyle>
            <a:lvl1pPr>
              <a:defRPr>
                <a:latin typeface="CocogooseProNarrow Darkmode" panose="00000400000000000000" pitchFamily="2" charset="0"/>
              </a:defRPr>
            </a:lvl1pPr>
          </a:lstStyle>
          <a:p>
            <a:r>
              <a:rPr lang="fr-FR"/>
              <a:t>Titre principal | Page de gard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F6893A8-91A1-3E49-A80E-99A464DA83E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820" y="2041401"/>
            <a:ext cx="3584575" cy="319926"/>
          </a:xfrm>
          <a:noFill/>
        </p:spPr>
        <p:txBody>
          <a:bodyPr>
            <a:noAutofit/>
          </a:bodyPr>
          <a:lstStyle>
            <a:lvl1pPr>
              <a:defRPr sz="1600">
                <a:solidFill>
                  <a:schemeClr val="accent3"/>
                </a:solidFill>
                <a:latin typeface="CocogooseProNarrow Light" pitchFamily="2" charset="0"/>
              </a:defRPr>
            </a:lvl1pPr>
          </a:lstStyle>
          <a:p>
            <a:pPr lvl="0"/>
            <a:r>
              <a:rPr lang="fr-FR"/>
              <a:t>Date</a:t>
            </a:r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F6863FBF-A22E-1E46-B0A4-6FA57E1E48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1819" y="3438819"/>
            <a:ext cx="7331705" cy="1277612"/>
          </a:xfrm>
          <a:noFill/>
        </p:spPr>
        <p:txBody>
          <a:bodyPr wrap="square" tIns="360000">
            <a:noAutofit/>
          </a:bodyPr>
          <a:lstStyle>
            <a:lvl1pPr>
              <a:defRPr sz="2200" b="0">
                <a:solidFill>
                  <a:schemeClr val="bg1"/>
                </a:solidFill>
                <a:latin typeface="CocogooseProNarrow Light" pitchFamily="2" charset="0"/>
              </a:defRPr>
            </a:lvl1pPr>
          </a:lstStyle>
          <a:p>
            <a:pPr lvl="0"/>
            <a:r>
              <a:rPr lang="fr-FR"/>
              <a:t>Sous-titre et/ou nom du client</a:t>
            </a:r>
          </a:p>
        </p:txBody>
      </p:sp>
      <p:sp>
        <p:nvSpPr>
          <p:cNvPr id="11" name="object 4">
            <a:extLst>
              <a:ext uri="{FF2B5EF4-FFF2-40B4-BE49-F238E27FC236}">
                <a16:creationId xmlns:a16="http://schemas.microsoft.com/office/drawing/2014/main" id="{D5AE9ADF-F342-9D40-BF70-0264EB47A8B6}"/>
              </a:ext>
            </a:extLst>
          </p:cNvPr>
          <p:cNvSpPr/>
          <p:nvPr userDrawn="1"/>
        </p:nvSpPr>
        <p:spPr>
          <a:xfrm>
            <a:off x="540000" y="932606"/>
            <a:ext cx="11113770" cy="0"/>
          </a:xfrm>
          <a:custGeom>
            <a:avLst/>
            <a:gdLst/>
            <a:ahLst/>
            <a:cxnLst/>
            <a:rect l="l" t="t" r="r" b="b"/>
            <a:pathLst>
              <a:path w="11113770">
                <a:moveTo>
                  <a:pt x="0" y="0"/>
                </a:moveTo>
                <a:lnTo>
                  <a:pt x="11113198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CocogooseProNarrow Light" pitchFamily="2" charset="0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57079574-FB4D-AC45-B732-F706204933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9157" y="555660"/>
            <a:ext cx="1123804" cy="188533"/>
          </a:xfrm>
          <a:prstGeom prst="rect">
            <a:avLst/>
          </a:prstGeom>
        </p:spPr>
      </p:pic>
      <p:sp>
        <p:nvSpPr>
          <p:cNvPr id="14" name="object 3">
            <a:extLst>
              <a:ext uri="{FF2B5EF4-FFF2-40B4-BE49-F238E27FC236}">
                <a16:creationId xmlns:a16="http://schemas.microsoft.com/office/drawing/2014/main" id="{6DC42EB9-E334-A242-B22A-3D3912248CDE}"/>
              </a:ext>
            </a:extLst>
          </p:cNvPr>
          <p:cNvSpPr/>
          <p:nvPr userDrawn="1"/>
        </p:nvSpPr>
        <p:spPr>
          <a:xfrm>
            <a:off x="540000" y="5354996"/>
            <a:ext cx="11113770" cy="0"/>
          </a:xfrm>
          <a:custGeom>
            <a:avLst/>
            <a:gdLst/>
            <a:ahLst/>
            <a:cxnLst/>
            <a:rect l="l" t="t" r="r" b="b"/>
            <a:pathLst>
              <a:path w="11113770">
                <a:moveTo>
                  <a:pt x="0" y="0"/>
                </a:moveTo>
                <a:lnTo>
                  <a:pt x="11113198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CocogooseProNarrow Light" pitchFamily="2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5BCA094-6333-8442-AF15-469747FDD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5396" y="5572124"/>
            <a:ext cx="2536825" cy="961410"/>
          </a:xfr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</a:defRPr>
            </a:lvl1pPr>
            <a:lvl2pPr>
              <a:defRPr sz="1600" b="0">
                <a:latin typeface="Century Gothic" panose="020B0502020202020204" pitchFamily="34" charset="0"/>
              </a:defRPr>
            </a:lvl2pPr>
            <a:lvl3pPr>
              <a:defRPr sz="1600" b="0">
                <a:latin typeface="Century Gothic" panose="020B0502020202020204" pitchFamily="34" charset="0"/>
              </a:defRPr>
            </a:lvl3pPr>
            <a:lvl4pPr>
              <a:defRPr sz="1600" b="0">
                <a:latin typeface="Century Gothic" panose="020B0502020202020204" pitchFamily="34" charset="0"/>
              </a:defRPr>
            </a:lvl4pPr>
            <a:lvl5pPr>
              <a:defRPr sz="1600" b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/>
              <a:t>Prénom Nom Personne 1</a:t>
            </a:r>
          </a:p>
          <a:p>
            <a:pPr lvl="0"/>
            <a:r>
              <a:rPr lang="fr-FR"/>
              <a:t>Prénom Nom Personne 2</a:t>
            </a:r>
          </a:p>
          <a:p>
            <a:pPr lvl="0"/>
            <a:r>
              <a:rPr lang="fr-FR"/>
              <a:t>Prénom Nom Personne 3</a:t>
            </a:r>
          </a:p>
          <a:p>
            <a:pPr lvl="0"/>
            <a:r>
              <a:rPr lang="fr-FR"/>
              <a:t>Prénom Nom Personne 4</a:t>
            </a:r>
          </a:p>
        </p:txBody>
      </p:sp>
      <p:sp>
        <p:nvSpPr>
          <p:cNvPr id="17" name="Espace réservé du texte 3">
            <a:extLst>
              <a:ext uri="{FF2B5EF4-FFF2-40B4-BE49-F238E27FC236}">
                <a16:creationId xmlns:a16="http://schemas.microsoft.com/office/drawing/2014/main" id="{D19F14FB-20D9-D345-B1A3-CE453E122B5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2623" y="5572123"/>
            <a:ext cx="5380338" cy="9614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</a:defRPr>
            </a:lvl1pPr>
            <a:lvl2pPr>
              <a:defRPr sz="1600" b="0">
                <a:latin typeface="Century Gothic" panose="020B0502020202020204" pitchFamily="34" charset="0"/>
              </a:defRPr>
            </a:lvl2pPr>
            <a:lvl3pPr>
              <a:defRPr sz="1600" b="0">
                <a:latin typeface="Century Gothic" panose="020B0502020202020204" pitchFamily="34" charset="0"/>
              </a:defRPr>
            </a:lvl3pPr>
            <a:lvl4pPr>
              <a:defRPr sz="1600" b="0">
                <a:latin typeface="Century Gothic" panose="020B0502020202020204" pitchFamily="34" charset="0"/>
              </a:defRPr>
            </a:lvl4pPr>
            <a:lvl5pPr>
              <a:defRPr sz="1600" b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/>
              <a:t>personne1@carbone4.com | numéro tél.</a:t>
            </a:r>
          </a:p>
          <a:p>
            <a:pPr lvl="0"/>
            <a:r>
              <a:rPr lang="fr-FR"/>
              <a:t>personne2@carbone4.com | numéro tél.</a:t>
            </a:r>
            <a:br>
              <a:rPr lang="fr-FR"/>
            </a:br>
            <a:r>
              <a:rPr lang="fr-FR"/>
              <a:t>personne3@carbone4.com | numéro tél.</a:t>
            </a:r>
          </a:p>
          <a:p>
            <a:pPr lvl="0"/>
            <a:r>
              <a:rPr lang="fr-FR"/>
              <a:t>personne4@carbone4.com | numéro tél.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F4D2FB57-A41E-C84B-A681-EFFE70CC3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49201" y="5572124"/>
            <a:ext cx="2876038" cy="9614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</a:defRPr>
            </a:lvl1pPr>
            <a:lvl2pPr>
              <a:defRPr sz="1600" b="0">
                <a:latin typeface="Century Gothic" panose="020B0502020202020204" pitchFamily="34" charset="0"/>
              </a:defRPr>
            </a:lvl2pPr>
            <a:lvl3pPr>
              <a:defRPr sz="1600" b="0">
                <a:latin typeface="Century Gothic" panose="020B0502020202020204" pitchFamily="34" charset="0"/>
              </a:defRPr>
            </a:lvl3pPr>
            <a:lvl4pPr>
              <a:defRPr sz="1600" b="0">
                <a:latin typeface="Century Gothic" panose="020B0502020202020204" pitchFamily="34" charset="0"/>
              </a:defRPr>
            </a:lvl4pPr>
            <a:lvl5pPr>
              <a:defRPr sz="1600" b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/>
              <a:t>Grade/poste Personne 1</a:t>
            </a:r>
          </a:p>
          <a:p>
            <a:pPr lvl="0"/>
            <a:r>
              <a:rPr lang="fr-FR"/>
              <a:t>Grade/poste Personne 2</a:t>
            </a:r>
          </a:p>
          <a:p>
            <a:pPr lvl="0"/>
            <a:r>
              <a:rPr lang="fr-FR"/>
              <a:t>Grade/poste Personne 3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Grade/poste Personne 4</a:t>
            </a:r>
          </a:p>
        </p:txBody>
      </p:sp>
      <p:pic>
        <p:nvPicPr>
          <p:cNvPr id="2" name="Image 1" descr="Une image contenant Police, Graphique, graphisme, logo&#10;&#10;Description générée automatiquement">
            <a:extLst>
              <a:ext uri="{FF2B5EF4-FFF2-40B4-BE49-F238E27FC236}">
                <a16:creationId xmlns:a16="http://schemas.microsoft.com/office/drawing/2014/main" id="{66E2C7CB-E658-C3C6-8A94-D20E7AB6964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819" y="592375"/>
            <a:ext cx="976190" cy="246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3026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3. PAGE-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18">
            <a:extLst>
              <a:ext uri="{FF2B5EF4-FFF2-40B4-BE49-F238E27FC236}">
                <a16:creationId xmlns:a16="http://schemas.microsoft.com/office/drawing/2014/main" id="{A3FD6698-E135-FD44-B50D-CF054315B0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200" b="0">
                <a:solidFill>
                  <a:schemeClr val="accent1"/>
                </a:solidFill>
              </a:defRPr>
            </a:lvl1pPr>
          </a:lstStyle>
          <a:p>
            <a:fld id="{3B5A6716-DBF2-AF4C-9665-1BA53E8D7A1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F77D08A3-4D47-AB4F-9A49-663CCBC227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9990318" y="6407232"/>
            <a:ext cx="931321" cy="145377"/>
          </a:xfrm>
          <a:prstGeom prst="rect">
            <a:avLst/>
          </a:prstGeom>
          <a:noFill/>
        </p:spPr>
      </p:pic>
      <p:pic>
        <p:nvPicPr>
          <p:cNvPr id="2" name="Image 1" descr="Une image contenant Graphique, Police, graphisme, capture d’écran&#10;&#10;Description générée automatiquement">
            <a:extLst>
              <a:ext uri="{FF2B5EF4-FFF2-40B4-BE49-F238E27FC236}">
                <a16:creationId xmlns:a16="http://schemas.microsoft.com/office/drawing/2014/main" id="{6FA0FDF9-FA32-9857-0DD7-6EFEDD94EC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50" y="6347795"/>
            <a:ext cx="791813" cy="199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5885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03. PAGE-standard-titre_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pied de page 21">
            <a:extLst>
              <a:ext uri="{FF2B5EF4-FFF2-40B4-BE49-F238E27FC236}">
                <a16:creationId xmlns:a16="http://schemas.microsoft.com/office/drawing/2014/main" id="{24553A4B-E194-6645-837D-65CB7D6C8F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6575" y="6179795"/>
            <a:ext cx="9232900" cy="400050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sz="1000" i="0" smtClean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5494B95-1F29-044B-A910-00151438DD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Titre</a:t>
            </a:r>
          </a:p>
        </p:txBody>
      </p:sp>
      <p:sp>
        <p:nvSpPr>
          <p:cNvPr id="11" name="Espace réservé du numéro de diapositive 18">
            <a:extLst>
              <a:ext uri="{FF2B5EF4-FFF2-40B4-BE49-F238E27FC236}">
                <a16:creationId xmlns:a16="http://schemas.microsoft.com/office/drawing/2014/main" id="{062A5E12-47A6-6A41-93E9-892AEF0EE2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200" b="0">
                <a:solidFill>
                  <a:schemeClr val="accent1"/>
                </a:solidFill>
              </a:defRPr>
            </a:lvl1pPr>
          </a:lstStyle>
          <a:p>
            <a:fld id="{3B5A6716-DBF2-AF4C-9665-1BA53E8D7A1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Image 3" descr="Une image contenant Graphique, Police, graphisme, capture d’écran&#10;&#10;Description générée automatiquement">
            <a:extLst>
              <a:ext uri="{FF2B5EF4-FFF2-40B4-BE49-F238E27FC236}">
                <a16:creationId xmlns:a16="http://schemas.microsoft.com/office/drawing/2014/main" id="{26ACBA29-D64E-6C84-8919-252BFC7D97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50" y="6347795"/>
            <a:ext cx="791813" cy="199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189528"/>
      </p:ext>
    </p:extLst>
  </p:cSld>
  <p:clrMapOvr>
    <a:masterClrMapping/>
  </p:clrMapOvr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3. PAGE-standard-titre_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5494B95-1F29-044B-A910-00151438DD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Titre</a:t>
            </a:r>
          </a:p>
        </p:txBody>
      </p:sp>
      <p:sp>
        <p:nvSpPr>
          <p:cNvPr id="11" name="Espace réservé du numéro de diapositive 18">
            <a:extLst>
              <a:ext uri="{FF2B5EF4-FFF2-40B4-BE49-F238E27FC236}">
                <a16:creationId xmlns:a16="http://schemas.microsoft.com/office/drawing/2014/main" id="{062A5E12-47A6-6A41-93E9-892AEF0EE2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200" b="0">
                <a:solidFill>
                  <a:schemeClr val="accent1"/>
                </a:solidFill>
              </a:defRPr>
            </a:lvl1pPr>
          </a:lstStyle>
          <a:p>
            <a:fld id="{3B5A6716-DBF2-AF4C-9665-1BA53E8D7A1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9D78A4D0-8C28-434D-A70C-10123983D7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9990318" y="6407232"/>
            <a:ext cx="931321" cy="145377"/>
          </a:xfrm>
          <a:prstGeom prst="rect">
            <a:avLst/>
          </a:prstGeom>
          <a:noFill/>
        </p:spPr>
      </p:pic>
      <p:sp>
        <p:nvSpPr>
          <p:cNvPr id="7" name="Espace réservé du pied de page 21">
            <a:extLst>
              <a:ext uri="{FF2B5EF4-FFF2-40B4-BE49-F238E27FC236}">
                <a16:creationId xmlns:a16="http://schemas.microsoft.com/office/drawing/2014/main" id="{36844B9E-F0DC-02C7-9E7B-663EE897DA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0361" y="6179795"/>
            <a:ext cx="8499114" cy="400050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sz="1000" i="0" smtClean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9" name="Espace réservé du texte 3">
            <a:extLst>
              <a:ext uri="{FF2B5EF4-FFF2-40B4-BE49-F238E27FC236}">
                <a16:creationId xmlns:a16="http://schemas.microsoft.com/office/drawing/2014/main" id="{BDFE22D8-C005-B744-1FF0-639C2AB95E2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6575" y="1484313"/>
            <a:ext cx="11115675" cy="4279899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3" name="Image 2" descr="Une image contenant Graphique, Police, graphisme, capture d’écran&#10;&#10;Description générée automatiquement">
            <a:extLst>
              <a:ext uri="{FF2B5EF4-FFF2-40B4-BE49-F238E27FC236}">
                <a16:creationId xmlns:a16="http://schemas.microsoft.com/office/drawing/2014/main" id="{BDCF0961-AA81-3D0D-8598-FE50BB9CF84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50" y="6347795"/>
            <a:ext cx="791813" cy="199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1577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3. PAGE-standard-titre+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pied de page 21">
            <a:extLst>
              <a:ext uri="{FF2B5EF4-FFF2-40B4-BE49-F238E27FC236}">
                <a16:creationId xmlns:a16="http://schemas.microsoft.com/office/drawing/2014/main" id="{EC98A262-2C05-1141-A8C6-A219AD4ADA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0361" y="6179795"/>
            <a:ext cx="8499114" cy="400050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sz="1000" i="0" smtClean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EF42B427-5F62-EF49-A3DB-B11439E88F43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536575" y="1484313"/>
            <a:ext cx="11115675" cy="4279899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27B4189-0641-E548-88DA-A30D1A2E6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Titre</a:t>
            </a:r>
          </a:p>
        </p:txBody>
      </p:sp>
      <p:sp>
        <p:nvSpPr>
          <p:cNvPr id="10" name="Espace réservé du numéro de diapositive 18">
            <a:extLst>
              <a:ext uri="{FF2B5EF4-FFF2-40B4-BE49-F238E27FC236}">
                <a16:creationId xmlns:a16="http://schemas.microsoft.com/office/drawing/2014/main" id="{8520D29F-265B-C04B-83DD-4ED91386E8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200" b="0">
                <a:solidFill>
                  <a:schemeClr val="accent1"/>
                </a:solidFill>
              </a:defRPr>
            </a:lvl1pPr>
          </a:lstStyle>
          <a:p>
            <a:fld id="{3B5A6716-DBF2-AF4C-9665-1BA53E8D7A1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ED4607BA-20B7-904A-851E-54DEDEB7A9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9990318" y="6407232"/>
            <a:ext cx="931321" cy="145377"/>
          </a:xfrm>
          <a:prstGeom prst="rect">
            <a:avLst/>
          </a:prstGeom>
          <a:noFill/>
        </p:spPr>
      </p:pic>
      <p:pic>
        <p:nvPicPr>
          <p:cNvPr id="3" name="Image 2" descr="Une image contenant Graphique, Police, graphisme, capture d’écran&#10;&#10;Description générée automatiquement">
            <a:extLst>
              <a:ext uri="{FF2B5EF4-FFF2-40B4-BE49-F238E27FC236}">
                <a16:creationId xmlns:a16="http://schemas.microsoft.com/office/drawing/2014/main" id="{FE76C3A9-80A9-A3AC-481A-8B38047DFF0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50" y="6347795"/>
            <a:ext cx="791813" cy="199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4125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. INTERCALAIRE-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4">
            <a:extLst>
              <a:ext uri="{FF2B5EF4-FFF2-40B4-BE49-F238E27FC236}">
                <a16:creationId xmlns:a16="http://schemas.microsoft.com/office/drawing/2014/main" id="{D5C8E86E-A939-CD4E-AB6D-1C5B89650A4F}"/>
              </a:ext>
            </a:extLst>
          </p:cNvPr>
          <p:cNvSpPr/>
          <p:nvPr userDrawn="1"/>
        </p:nvSpPr>
        <p:spPr>
          <a:xfrm>
            <a:off x="540000" y="759854"/>
            <a:ext cx="11113770" cy="0"/>
          </a:xfrm>
          <a:custGeom>
            <a:avLst/>
            <a:gdLst/>
            <a:ahLst/>
            <a:cxnLst/>
            <a:rect l="l" t="t" r="r" b="b"/>
            <a:pathLst>
              <a:path w="11113770">
                <a:moveTo>
                  <a:pt x="0" y="0"/>
                </a:moveTo>
                <a:lnTo>
                  <a:pt x="11113198" y="0"/>
                </a:lnTo>
              </a:path>
            </a:pathLst>
          </a:custGeom>
          <a:ln w="3175">
            <a:solidFill>
              <a:schemeClr val="bg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E402D0AA-FA02-C344-83CA-7F1003DB07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8921" y="517263"/>
            <a:ext cx="693329" cy="116315"/>
          </a:xfrm>
          <a:prstGeom prst="rect">
            <a:avLst/>
          </a:prstGeom>
        </p:spPr>
      </p:pic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CAB9AEA-46ED-034F-B674-3819DD517D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8075" y="1037667"/>
            <a:ext cx="5464175" cy="1052596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fr-FR" sz="3800" b="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lvl="0">
              <a:spcBef>
                <a:spcPct val="0"/>
              </a:spcBef>
            </a:pPr>
            <a:r>
              <a:rPr lang="fr-FR"/>
              <a:t>Sommaire / Table of contents</a:t>
            </a:r>
          </a:p>
        </p:txBody>
      </p:sp>
      <p:sp>
        <p:nvSpPr>
          <p:cNvPr id="10" name="Espace réservé du contenu 9">
            <a:extLst>
              <a:ext uri="{FF2B5EF4-FFF2-40B4-BE49-F238E27FC236}">
                <a16:creationId xmlns:a16="http://schemas.microsoft.com/office/drawing/2014/main" id="{5FF97029-63A4-1C4A-91E3-6F632527E25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188075" y="2388212"/>
            <a:ext cx="5464175" cy="482309"/>
          </a:xfrm>
        </p:spPr>
        <p:txBody>
          <a:bodyPr wrap="square" anchor="ctr">
            <a:noAutofit/>
          </a:bodyPr>
          <a:lstStyle>
            <a:lvl1pPr marL="0" indent="0">
              <a:tabLst>
                <a:tab pos="438150" algn="l"/>
              </a:tabLst>
              <a:defRPr sz="2200" b="0"/>
            </a:lvl1pPr>
          </a:lstStyle>
          <a:p>
            <a:pPr lvl="0"/>
            <a:r>
              <a:rPr lang="fr-FR"/>
              <a:t>#.	[Tab]Item 1</a:t>
            </a:r>
          </a:p>
        </p:txBody>
      </p:sp>
      <p:sp>
        <p:nvSpPr>
          <p:cNvPr id="26" name="Espace réservé du contenu 9">
            <a:extLst>
              <a:ext uri="{FF2B5EF4-FFF2-40B4-BE49-F238E27FC236}">
                <a16:creationId xmlns:a16="http://schemas.microsoft.com/office/drawing/2014/main" id="{E05A4C53-5075-E34F-9634-A2DABE974B2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88075" y="2969571"/>
            <a:ext cx="5464175" cy="482309"/>
          </a:xfrm>
        </p:spPr>
        <p:txBody>
          <a:bodyPr wrap="square" anchor="ctr">
            <a:noAutofit/>
          </a:bodyPr>
          <a:lstStyle>
            <a:lvl1pPr marL="0" indent="0">
              <a:tabLst>
                <a:tab pos="438150" algn="l"/>
              </a:tabLst>
              <a:defRPr sz="2200" b="0"/>
            </a:lvl1pPr>
          </a:lstStyle>
          <a:p>
            <a:pPr lvl="0"/>
            <a:r>
              <a:rPr lang="fr-FR"/>
              <a:t>#.	[Tab]Item 2</a:t>
            </a:r>
          </a:p>
        </p:txBody>
      </p:sp>
      <p:sp>
        <p:nvSpPr>
          <p:cNvPr id="27" name="Espace réservé du contenu 9">
            <a:extLst>
              <a:ext uri="{FF2B5EF4-FFF2-40B4-BE49-F238E27FC236}">
                <a16:creationId xmlns:a16="http://schemas.microsoft.com/office/drawing/2014/main" id="{14DD4A63-2400-254C-BD3C-A9BD2073C87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88075" y="3550930"/>
            <a:ext cx="5464175" cy="482309"/>
          </a:xfrm>
        </p:spPr>
        <p:txBody>
          <a:bodyPr wrap="square" anchor="ctr">
            <a:noAutofit/>
          </a:bodyPr>
          <a:lstStyle>
            <a:lvl1pPr marL="0" indent="0">
              <a:tabLst>
                <a:tab pos="438150" algn="l"/>
              </a:tabLst>
              <a:defRPr sz="2200" b="0"/>
            </a:lvl1pPr>
          </a:lstStyle>
          <a:p>
            <a:pPr lvl="0"/>
            <a:r>
              <a:rPr lang="fr-FR"/>
              <a:t>#.	[Tab]Item 3</a:t>
            </a:r>
          </a:p>
        </p:txBody>
      </p:sp>
      <p:sp>
        <p:nvSpPr>
          <p:cNvPr id="28" name="Espace réservé du contenu 9">
            <a:extLst>
              <a:ext uri="{FF2B5EF4-FFF2-40B4-BE49-F238E27FC236}">
                <a16:creationId xmlns:a16="http://schemas.microsoft.com/office/drawing/2014/main" id="{1D2C5B3F-2F2F-9A40-81BC-A8C6781F9EB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88075" y="4132289"/>
            <a:ext cx="5464175" cy="482309"/>
          </a:xfrm>
        </p:spPr>
        <p:txBody>
          <a:bodyPr wrap="square" anchor="ctr">
            <a:noAutofit/>
          </a:bodyPr>
          <a:lstStyle>
            <a:lvl1pPr marL="0" indent="0">
              <a:tabLst>
                <a:tab pos="438150" algn="l"/>
              </a:tabLst>
              <a:defRPr sz="2200" b="0"/>
            </a:lvl1pPr>
          </a:lstStyle>
          <a:p>
            <a:pPr lvl="0"/>
            <a:r>
              <a:rPr lang="fr-FR"/>
              <a:t>#.	[Tab]Item 4</a:t>
            </a:r>
          </a:p>
        </p:txBody>
      </p:sp>
      <p:sp>
        <p:nvSpPr>
          <p:cNvPr id="29" name="Espace réservé du contenu 9">
            <a:extLst>
              <a:ext uri="{FF2B5EF4-FFF2-40B4-BE49-F238E27FC236}">
                <a16:creationId xmlns:a16="http://schemas.microsoft.com/office/drawing/2014/main" id="{480AF576-9F63-4141-A754-ECA6F6A8E3B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188075" y="4713648"/>
            <a:ext cx="5464175" cy="482309"/>
          </a:xfrm>
        </p:spPr>
        <p:txBody>
          <a:bodyPr wrap="square" anchor="ctr">
            <a:noAutofit/>
          </a:bodyPr>
          <a:lstStyle>
            <a:lvl1pPr marL="0" indent="0">
              <a:tabLst>
                <a:tab pos="438150" algn="l"/>
              </a:tabLst>
              <a:defRPr sz="2200" b="0"/>
            </a:lvl1pPr>
          </a:lstStyle>
          <a:p>
            <a:pPr lvl="0"/>
            <a:r>
              <a:rPr lang="fr-FR"/>
              <a:t>#.	[Tab]Item 5</a:t>
            </a:r>
          </a:p>
        </p:txBody>
      </p:sp>
      <p:sp>
        <p:nvSpPr>
          <p:cNvPr id="30" name="Espace réservé du contenu 9">
            <a:extLst>
              <a:ext uri="{FF2B5EF4-FFF2-40B4-BE49-F238E27FC236}">
                <a16:creationId xmlns:a16="http://schemas.microsoft.com/office/drawing/2014/main" id="{E016143F-9649-834B-AA9D-094EE771D5ED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88075" y="5295007"/>
            <a:ext cx="5464175" cy="482309"/>
          </a:xfrm>
        </p:spPr>
        <p:txBody>
          <a:bodyPr wrap="square" anchor="ctr">
            <a:noAutofit/>
          </a:bodyPr>
          <a:lstStyle>
            <a:lvl1pPr marL="0" indent="0">
              <a:tabLst>
                <a:tab pos="438150" algn="l"/>
              </a:tabLst>
              <a:defRPr sz="2200" b="0"/>
            </a:lvl1pPr>
          </a:lstStyle>
          <a:p>
            <a:pPr lvl="0"/>
            <a:r>
              <a:rPr lang="fr-FR"/>
              <a:t>#.	[Tab]Item 6</a:t>
            </a:r>
          </a:p>
        </p:txBody>
      </p:sp>
      <p:sp>
        <p:nvSpPr>
          <p:cNvPr id="13" name="Espace réservé du numéro de diapositive 18">
            <a:extLst>
              <a:ext uri="{FF2B5EF4-FFF2-40B4-BE49-F238E27FC236}">
                <a16:creationId xmlns:a16="http://schemas.microsoft.com/office/drawing/2014/main" id="{9D0A6386-A800-7944-B7A8-1EAF0152D3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fld id="{3B5A6716-DBF2-AF4C-9665-1BA53E8D7A1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2" name="Image 1" descr="Une image contenant Police, Graphique, graphisme, logo&#10;&#10;Description générée automatiquement">
            <a:extLst>
              <a:ext uri="{FF2B5EF4-FFF2-40B4-BE49-F238E27FC236}">
                <a16:creationId xmlns:a16="http://schemas.microsoft.com/office/drawing/2014/main" id="{B1F946F4-AEDB-7A83-03AC-107A5462DF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867" y="537440"/>
            <a:ext cx="762352" cy="192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3310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. PAGE-standard-titre+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pied de page 21">
            <a:extLst>
              <a:ext uri="{FF2B5EF4-FFF2-40B4-BE49-F238E27FC236}">
                <a16:creationId xmlns:a16="http://schemas.microsoft.com/office/drawing/2014/main" id="{EC98A262-2C05-1141-A8C6-A219AD4ADA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0361" y="6179795"/>
            <a:ext cx="8499114" cy="400050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sz="1000" i="0" smtClean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EF42B427-5F62-EF49-A3DB-B11439E88F43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536575" y="1484313"/>
            <a:ext cx="11115675" cy="4279899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27B4189-0641-E548-88DA-A30D1A2E6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Titre</a:t>
            </a:r>
          </a:p>
        </p:txBody>
      </p:sp>
      <p:sp>
        <p:nvSpPr>
          <p:cNvPr id="10" name="Espace réservé du numéro de diapositive 18">
            <a:extLst>
              <a:ext uri="{FF2B5EF4-FFF2-40B4-BE49-F238E27FC236}">
                <a16:creationId xmlns:a16="http://schemas.microsoft.com/office/drawing/2014/main" id="{8520D29F-265B-C04B-83DD-4ED91386E8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200" b="0">
                <a:solidFill>
                  <a:schemeClr val="accent1"/>
                </a:solidFill>
              </a:defRPr>
            </a:lvl1pPr>
          </a:lstStyle>
          <a:p>
            <a:fld id="{3B5A6716-DBF2-AF4C-9665-1BA53E8D7A1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ED4607BA-20B7-904A-851E-54DEDEB7A9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9990318" y="6407232"/>
            <a:ext cx="931321" cy="145377"/>
          </a:xfrm>
          <a:prstGeom prst="rect">
            <a:avLst/>
          </a:prstGeom>
          <a:noFill/>
        </p:spPr>
      </p:pic>
      <p:pic>
        <p:nvPicPr>
          <p:cNvPr id="3" name="Image 2" descr="Une image contenant Graphique, Police, graphisme, capture d’écran&#10;&#10;Description générée automatiquement">
            <a:extLst>
              <a:ext uri="{FF2B5EF4-FFF2-40B4-BE49-F238E27FC236}">
                <a16:creationId xmlns:a16="http://schemas.microsoft.com/office/drawing/2014/main" id="{D12433E7-7921-401A-CA87-28C835A4B97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50" y="6347795"/>
            <a:ext cx="791813" cy="199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0597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. PAGE-standard-titre_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5494B95-1F29-044B-A910-00151438DD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Titre</a:t>
            </a:r>
          </a:p>
        </p:txBody>
      </p:sp>
      <p:sp>
        <p:nvSpPr>
          <p:cNvPr id="11" name="Espace réservé du numéro de diapositive 18">
            <a:extLst>
              <a:ext uri="{FF2B5EF4-FFF2-40B4-BE49-F238E27FC236}">
                <a16:creationId xmlns:a16="http://schemas.microsoft.com/office/drawing/2014/main" id="{062A5E12-47A6-6A41-93E9-892AEF0EE2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200" b="0">
                <a:solidFill>
                  <a:schemeClr val="accent1"/>
                </a:solidFill>
              </a:defRPr>
            </a:lvl1pPr>
          </a:lstStyle>
          <a:p>
            <a:fld id="{3B5A6716-DBF2-AF4C-9665-1BA53E8D7A1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9D78A4D0-8C28-434D-A70C-10123983D7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9990318" y="6407232"/>
            <a:ext cx="931321" cy="145377"/>
          </a:xfrm>
          <a:prstGeom prst="rect">
            <a:avLst/>
          </a:prstGeom>
          <a:noFill/>
        </p:spPr>
      </p:pic>
      <p:sp>
        <p:nvSpPr>
          <p:cNvPr id="7" name="Espace réservé du pied de page 21">
            <a:extLst>
              <a:ext uri="{FF2B5EF4-FFF2-40B4-BE49-F238E27FC236}">
                <a16:creationId xmlns:a16="http://schemas.microsoft.com/office/drawing/2014/main" id="{36844B9E-F0DC-02C7-9E7B-663EE897DA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0361" y="6179795"/>
            <a:ext cx="8499114" cy="400050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sz="1000" i="0" smtClean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9" name="Espace réservé du texte 3">
            <a:extLst>
              <a:ext uri="{FF2B5EF4-FFF2-40B4-BE49-F238E27FC236}">
                <a16:creationId xmlns:a16="http://schemas.microsoft.com/office/drawing/2014/main" id="{BDFE22D8-C005-B744-1FF0-639C2AB95E2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6575" y="1484313"/>
            <a:ext cx="11115675" cy="4279899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4" name="Image 3" descr="Une image contenant Graphique, Police, graphisme, capture d’écran&#10;&#10;Description générée automatiquement">
            <a:extLst>
              <a:ext uri="{FF2B5EF4-FFF2-40B4-BE49-F238E27FC236}">
                <a16:creationId xmlns:a16="http://schemas.microsoft.com/office/drawing/2014/main" id="{C3FE1D43-7741-7352-3D63-B2D64D46E57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574" y="6344954"/>
            <a:ext cx="931321" cy="234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66194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. PAGE-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18">
            <a:extLst>
              <a:ext uri="{FF2B5EF4-FFF2-40B4-BE49-F238E27FC236}">
                <a16:creationId xmlns:a16="http://schemas.microsoft.com/office/drawing/2014/main" id="{A3FD6698-E135-FD44-B50D-CF054315B0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200" b="0">
                <a:solidFill>
                  <a:schemeClr val="accent1"/>
                </a:solidFill>
              </a:defRPr>
            </a:lvl1pPr>
          </a:lstStyle>
          <a:p>
            <a:fld id="{3B5A6716-DBF2-AF4C-9665-1BA53E8D7A1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F77D08A3-4D47-AB4F-9A49-663CCBC227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9990318" y="6407232"/>
            <a:ext cx="931321" cy="145377"/>
          </a:xfrm>
          <a:prstGeom prst="rect">
            <a:avLst/>
          </a:prstGeom>
          <a:noFill/>
        </p:spPr>
      </p:pic>
      <p:pic>
        <p:nvPicPr>
          <p:cNvPr id="3" name="Image 2" descr="Une image contenant Graphique, Police, graphisme, capture d’écran&#10;&#10;Description générée automatiquement">
            <a:extLst>
              <a:ext uri="{FF2B5EF4-FFF2-40B4-BE49-F238E27FC236}">
                <a16:creationId xmlns:a16="http://schemas.microsoft.com/office/drawing/2014/main" id="{79431627-5EBC-28A7-56E5-387FBAFC51D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50" y="6347795"/>
            <a:ext cx="791813" cy="199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434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. PAGE-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18">
            <a:extLst>
              <a:ext uri="{FF2B5EF4-FFF2-40B4-BE49-F238E27FC236}">
                <a16:creationId xmlns:a16="http://schemas.microsoft.com/office/drawing/2014/main" id="{A3FD6698-E135-FD44-B50D-CF054315B0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200" b="0">
                <a:solidFill>
                  <a:schemeClr val="accent1"/>
                </a:solidFill>
              </a:defRPr>
            </a:lvl1pPr>
          </a:lstStyle>
          <a:p>
            <a:fld id="{3B5A6716-DBF2-AF4C-9665-1BA53E8D7A1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F77D08A3-4D47-AB4F-9A49-663CCBC227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9990318" y="6407232"/>
            <a:ext cx="931321" cy="145377"/>
          </a:xfrm>
          <a:prstGeom prst="rect">
            <a:avLst/>
          </a:prstGeom>
          <a:noFill/>
        </p:spPr>
      </p:pic>
      <p:pic>
        <p:nvPicPr>
          <p:cNvPr id="3" name="Image 2" descr="Une image contenant Graphique, Police, graphisme, capture d’écran&#10;&#10;Description générée automatiquement">
            <a:extLst>
              <a:ext uri="{FF2B5EF4-FFF2-40B4-BE49-F238E27FC236}">
                <a16:creationId xmlns:a16="http://schemas.microsoft.com/office/drawing/2014/main" id="{79431627-5EBC-28A7-56E5-387FBAFC51D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50" y="6347795"/>
            <a:ext cx="791813" cy="199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30961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2. INTERCALAIRE-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5C0D79B3-B9A1-474C-8091-7E5EBC32F1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88074" y="2131793"/>
            <a:ext cx="5464176" cy="1582311"/>
          </a:xfrm>
          <a:noFill/>
        </p:spPr>
        <p:txBody>
          <a:bodyPr wrap="square" tIns="360000">
            <a:noAutofit/>
          </a:bodyPr>
          <a:lstStyle>
            <a:lvl1pPr>
              <a:defRPr sz="2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Sous-titre / Résumé</a:t>
            </a:r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id="{90C73A7F-3B52-DB4D-B343-81B2EEAF2557}"/>
              </a:ext>
            </a:extLst>
          </p:cNvPr>
          <p:cNvSpPr/>
          <p:nvPr userDrawn="1"/>
        </p:nvSpPr>
        <p:spPr>
          <a:xfrm>
            <a:off x="540000" y="759854"/>
            <a:ext cx="11113770" cy="0"/>
          </a:xfrm>
          <a:custGeom>
            <a:avLst/>
            <a:gdLst/>
            <a:ahLst/>
            <a:cxnLst/>
            <a:rect l="l" t="t" r="r" b="b"/>
            <a:pathLst>
              <a:path w="11113770">
                <a:moveTo>
                  <a:pt x="0" y="0"/>
                </a:moveTo>
                <a:lnTo>
                  <a:pt x="11113198" y="0"/>
                </a:lnTo>
              </a:path>
            </a:pathLst>
          </a:custGeom>
          <a:ln w="3175">
            <a:solidFill>
              <a:schemeClr val="bg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9958C6AA-0D04-5D4C-9725-11C53FE42E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560" y="542154"/>
            <a:ext cx="693329" cy="116315"/>
          </a:xfrm>
          <a:prstGeom prst="rect">
            <a:avLst/>
          </a:prstGeom>
        </p:spPr>
      </p:pic>
      <p:sp>
        <p:nvSpPr>
          <p:cNvPr id="15" name="object 5">
            <a:extLst>
              <a:ext uri="{FF2B5EF4-FFF2-40B4-BE49-F238E27FC236}">
                <a16:creationId xmlns:a16="http://schemas.microsoft.com/office/drawing/2014/main" id="{095C6BFC-00A6-704F-9032-B6766EC3CB9B}"/>
              </a:ext>
            </a:extLst>
          </p:cNvPr>
          <p:cNvSpPr/>
          <p:nvPr userDrawn="1"/>
        </p:nvSpPr>
        <p:spPr>
          <a:xfrm>
            <a:off x="11463642" y="539642"/>
            <a:ext cx="188608" cy="139808"/>
          </a:xfrm>
          <a:custGeom>
            <a:avLst/>
            <a:gdLst/>
            <a:ahLst/>
            <a:cxnLst/>
            <a:rect l="l" t="t" r="r" b="b"/>
            <a:pathLst>
              <a:path w="3943985" h="2923540">
                <a:moveTo>
                  <a:pt x="3233102" y="723531"/>
                </a:moveTo>
                <a:lnTo>
                  <a:pt x="3207880" y="682091"/>
                </a:lnTo>
                <a:lnTo>
                  <a:pt x="3181324" y="641578"/>
                </a:lnTo>
                <a:lnTo>
                  <a:pt x="3153499" y="602018"/>
                </a:lnTo>
                <a:lnTo>
                  <a:pt x="3124403" y="563422"/>
                </a:lnTo>
                <a:lnTo>
                  <a:pt x="3094075" y="525830"/>
                </a:lnTo>
                <a:lnTo>
                  <a:pt x="3062554" y="489280"/>
                </a:lnTo>
                <a:lnTo>
                  <a:pt x="3029864" y="453809"/>
                </a:lnTo>
                <a:lnTo>
                  <a:pt x="2996031" y="419417"/>
                </a:lnTo>
                <a:lnTo>
                  <a:pt x="2961094" y="386156"/>
                </a:lnTo>
                <a:lnTo>
                  <a:pt x="2925064" y="354050"/>
                </a:lnTo>
                <a:lnTo>
                  <a:pt x="2887992" y="323126"/>
                </a:lnTo>
                <a:lnTo>
                  <a:pt x="2849905" y="293433"/>
                </a:lnTo>
                <a:lnTo>
                  <a:pt x="2810814" y="264972"/>
                </a:lnTo>
                <a:lnTo>
                  <a:pt x="2770771" y="237794"/>
                </a:lnTo>
                <a:lnTo>
                  <a:pt x="2729788" y="211912"/>
                </a:lnTo>
                <a:lnTo>
                  <a:pt x="2687904" y="187375"/>
                </a:lnTo>
                <a:lnTo>
                  <a:pt x="2645156" y="164211"/>
                </a:lnTo>
                <a:lnTo>
                  <a:pt x="2601557" y="142430"/>
                </a:lnTo>
                <a:lnTo>
                  <a:pt x="2557157" y="122085"/>
                </a:lnTo>
                <a:lnTo>
                  <a:pt x="2511971" y="103187"/>
                </a:lnTo>
                <a:lnTo>
                  <a:pt x="2466022" y="85775"/>
                </a:lnTo>
                <a:lnTo>
                  <a:pt x="2419350" y="69875"/>
                </a:lnTo>
                <a:lnTo>
                  <a:pt x="2371991" y="55537"/>
                </a:lnTo>
                <a:lnTo>
                  <a:pt x="2323973" y="42760"/>
                </a:lnTo>
                <a:lnTo>
                  <a:pt x="2275306" y="31597"/>
                </a:lnTo>
                <a:lnTo>
                  <a:pt x="2226056" y="22059"/>
                </a:lnTo>
                <a:lnTo>
                  <a:pt x="2176208" y="14198"/>
                </a:lnTo>
                <a:lnTo>
                  <a:pt x="2125827" y="8026"/>
                </a:lnTo>
                <a:lnTo>
                  <a:pt x="2074938" y="3581"/>
                </a:lnTo>
                <a:lnTo>
                  <a:pt x="2023554" y="901"/>
                </a:lnTo>
                <a:lnTo>
                  <a:pt x="1971713" y="0"/>
                </a:lnTo>
                <a:lnTo>
                  <a:pt x="1921725" y="838"/>
                </a:lnTo>
                <a:lnTo>
                  <a:pt x="1872157" y="3340"/>
                </a:lnTo>
                <a:lnTo>
                  <a:pt x="1823034" y="7467"/>
                </a:lnTo>
                <a:lnTo>
                  <a:pt x="1774393" y="13208"/>
                </a:lnTo>
                <a:lnTo>
                  <a:pt x="1726247" y="20523"/>
                </a:lnTo>
                <a:lnTo>
                  <a:pt x="1678635" y="29400"/>
                </a:lnTo>
                <a:lnTo>
                  <a:pt x="1631569" y="39789"/>
                </a:lnTo>
                <a:lnTo>
                  <a:pt x="1585099" y="51689"/>
                </a:lnTo>
                <a:lnTo>
                  <a:pt x="1539227" y="65062"/>
                </a:lnTo>
                <a:lnTo>
                  <a:pt x="1493989" y="79870"/>
                </a:lnTo>
                <a:lnTo>
                  <a:pt x="1449425" y="96100"/>
                </a:lnTo>
                <a:lnTo>
                  <a:pt x="1405534" y="113728"/>
                </a:lnTo>
                <a:lnTo>
                  <a:pt x="1362367" y="132715"/>
                </a:lnTo>
                <a:lnTo>
                  <a:pt x="1319949" y="153047"/>
                </a:lnTo>
                <a:lnTo>
                  <a:pt x="1278293" y="174688"/>
                </a:lnTo>
                <a:lnTo>
                  <a:pt x="1237437" y="197612"/>
                </a:lnTo>
                <a:lnTo>
                  <a:pt x="1197394" y="221792"/>
                </a:lnTo>
                <a:lnTo>
                  <a:pt x="1158214" y="247218"/>
                </a:lnTo>
                <a:lnTo>
                  <a:pt x="1119898" y="273837"/>
                </a:lnTo>
                <a:lnTo>
                  <a:pt x="1082497" y="301625"/>
                </a:lnTo>
                <a:lnTo>
                  <a:pt x="1046022" y="330581"/>
                </a:lnTo>
                <a:lnTo>
                  <a:pt x="1010500" y="360641"/>
                </a:lnTo>
                <a:lnTo>
                  <a:pt x="975956" y="391820"/>
                </a:lnTo>
                <a:lnTo>
                  <a:pt x="942428" y="424053"/>
                </a:lnTo>
                <a:lnTo>
                  <a:pt x="909942" y="457339"/>
                </a:lnTo>
                <a:lnTo>
                  <a:pt x="878509" y="491629"/>
                </a:lnTo>
                <a:lnTo>
                  <a:pt x="848182" y="526923"/>
                </a:lnTo>
                <a:lnTo>
                  <a:pt x="818959" y="563181"/>
                </a:lnTo>
                <a:lnTo>
                  <a:pt x="790879" y="600367"/>
                </a:lnTo>
                <a:lnTo>
                  <a:pt x="763981" y="638467"/>
                </a:lnTo>
                <a:lnTo>
                  <a:pt x="738263" y="677443"/>
                </a:lnTo>
                <a:lnTo>
                  <a:pt x="713790" y="717283"/>
                </a:lnTo>
                <a:lnTo>
                  <a:pt x="690549" y="757948"/>
                </a:lnTo>
                <a:lnTo>
                  <a:pt x="668604" y="799414"/>
                </a:lnTo>
                <a:lnTo>
                  <a:pt x="647941" y="841654"/>
                </a:lnTo>
                <a:lnTo>
                  <a:pt x="628624" y="884643"/>
                </a:lnTo>
                <a:lnTo>
                  <a:pt x="610666" y="928370"/>
                </a:lnTo>
                <a:lnTo>
                  <a:pt x="594093" y="972769"/>
                </a:lnTo>
                <a:lnTo>
                  <a:pt x="578929" y="1017854"/>
                </a:lnTo>
                <a:lnTo>
                  <a:pt x="565200" y="1063574"/>
                </a:lnTo>
                <a:lnTo>
                  <a:pt x="552932" y="1109903"/>
                </a:lnTo>
                <a:lnTo>
                  <a:pt x="542163" y="1156830"/>
                </a:lnTo>
                <a:lnTo>
                  <a:pt x="0" y="1386954"/>
                </a:lnTo>
                <a:lnTo>
                  <a:pt x="0" y="2095906"/>
                </a:lnTo>
                <a:lnTo>
                  <a:pt x="1146073" y="1609420"/>
                </a:lnTo>
                <a:lnTo>
                  <a:pt x="1140396" y="1573161"/>
                </a:lnTo>
                <a:lnTo>
                  <a:pt x="1136243" y="1536433"/>
                </a:lnTo>
                <a:lnTo>
                  <a:pt x="1133690" y="1499247"/>
                </a:lnTo>
                <a:lnTo>
                  <a:pt x="1132814" y="1461617"/>
                </a:lnTo>
                <a:lnTo>
                  <a:pt x="1134148" y="1414005"/>
                </a:lnTo>
                <a:lnTo>
                  <a:pt x="1138085" y="1367104"/>
                </a:lnTo>
                <a:lnTo>
                  <a:pt x="1144549" y="1320965"/>
                </a:lnTo>
                <a:lnTo>
                  <a:pt x="1153502" y="1275664"/>
                </a:lnTo>
                <a:lnTo>
                  <a:pt x="1164831" y="1231265"/>
                </a:lnTo>
                <a:lnTo>
                  <a:pt x="1178496" y="1187856"/>
                </a:lnTo>
                <a:lnTo>
                  <a:pt x="1194422" y="1145489"/>
                </a:lnTo>
                <a:lnTo>
                  <a:pt x="1212519" y="1104252"/>
                </a:lnTo>
                <a:lnTo>
                  <a:pt x="1232738" y="1064196"/>
                </a:lnTo>
                <a:lnTo>
                  <a:pt x="1254988" y="1025423"/>
                </a:lnTo>
                <a:lnTo>
                  <a:pt x="1279220" y="987971"/>
                </a:lnTo>
                <a:lnTo>
                  <a:pt x="1305356" y="951915"/>
                </a:lnTo>
                <a:lnTo>
                  <a:pt x="1333309" y="917346"/>
                </a:lnTo>
                <a:lnTo>
                  <a:pt x="1363027" y="884326"/>
                </a:lnTo>
                <a:lnTo>
                  <a:pt x="1394434" y="852919"/>
                </a:lnTo>
                <a:lnTo>
                  <a:pt x="1427454" y="823201"/>
                </a:lnTo>
                <a:lnTo>
                  <a:pt x="1462024" y="795248"/>
                </a:lnTo>
                <a:lnTo>
                  <a:pt x="1498079" y="769112"/>
                </a:lnTo>
                <a:lnTo>
                  <a:pt x="1535518" y="744893"/>
                </a:lnTo>
                <a:lnTo>
                  <a:pt x="1574304" y="722630"/>
                </a:lnTo>
                <a:lnTo>
                  <a:pt x="1614360" y="702411"/>
                </a:lnTo>
                <a:lnTo>
                  <a:pt x="1655597" y="684314"/>
                </a:lnTo>
                <a:lnTo>
                  <a:pt x="1697951" y="668401"/>
                </a:lnTo>
                <a:lnTo>
                  <a:pt x="1741373" y="654735"/>
                </a:lnTo>
                <a:lnTo>
                  <a:pt x="1785759" y="643394"/>
                </a:lnTo>
                <a:lnTo>
                  <a:pt x="1831060" y="634453"/>
                </a:lnTo>
                <a:lnTo>
                  <a:pt x="1877199" y="627976"/>
                </a:lnTo>
                <a:lnTo>
                  <a:pt x="1924113" y="624039"/>
                </a:lnTo>
                <a:lnTo>
                  <a:pt x="1971713" y="622719"/>
                </a:lnTo>
                <a:lnTo>
                  <a:pt x="2023783" y="624306"/>
                </a:lnTo>
                <a:lnTo>
                  <a:pt x="2075002" y="629018"/>
                </a:lnTo>
                <a:lnTo>
                  <a:pt x="2125281" y="636752"/>
                </a:lnTo>
                <a:lnTo>
                  <a:pt x="2174532" y="647420"/>
                </a:lnTo>
                <a:lnTo>
                  <a:pt x="2222665" y="660933"/>
                </a:lnTo>
                <a:lnTo>
                  <a:pt x="2269579" y="677202"/>
                </a:lnTo>
                <a:lnTo>
                  <a:pt x="2315184" y="696112"/>
                </a:lnTo>
                <a:lnTo>
                  <a:pt x="2359393" y="717588"/>
                </a:lnTo>
                <a:lnTo>
                  <a:pt x="2402103" y="741527"/>
                </a:lnTo>
                <a:lnTo>
                  <a:pt x="2443238" y="767842"/>
                </a:lnTo>
                <a:lnTo>
                  <a:pt x="2482685" y="796442"/>
                </a:lnTo>
                <a:lnTo>
                  <a:pt x="2520365" y="827227"/>
                </a:lnTo>
                <a:lnTo>
                  <a:pt x="2556179" y="860107"/>
                </a:lnTo>
                <a:lnTo>
                  <a:pt x="2590050" y="894981"/>
                </a:lnTo>
                <a:lnTo>
                  <a:pt x="2621864" y="931773"/>
                </a:lnTo>
                <a:lnTo>
                  <a:pt x="2651544" y="970381"/>
                </a:lnTo>
                <a:lnTo>
                  <a:pt x="3233102" y="723531"/>
                </a:lnTo>
                <a:close/>
              </a:path>
              <a:path w="3943985" h="2923540">
                <a:moveTo>
                  <a:pt x="3943426" y="827303"/>
                </a:moveTo>
                <a:lnTo>
                  <a:pt x="2797352" y="1313776"/>
                </a:lnTo>
                <a:lnTo>
                  <a:pt x="2803029" y="1350035"/>
                </a:lnTo>
                <a:lnTo>
                  <a:pt x="2807182" y="1386776"/>
                </a:lnTo>
                <a:lnTo>
                  <a:pt x="2809735" y="1423962"/>
                </a:lnTo>
                <a:lnTo>
                  <a:pt x="2810599" y="1461604"/>
                </a:lnTo>
                <a:lnTo>
                  <a:pt x="2809265" y="1509217"/>
                </a:lnTo>
                <a:lnTo>
                  <a:pt x="2805328" y="1556118"/>
                </a:lnTo>
                <a:lnTo>
                  <a:pt x="2798864" y="1602257"/>
                </a:lnTo>
                <a:lnTo>
                  <a:pt x="2789910" y="1647558"/>
                </a:lnTo>
                <a:lnTo>
                  <a:pt x="2778582" y="1691944"/>
                </a:lnTo>
                <a:lnTo>
                  <a:pt x="2764917" y="1735353"/>
                </a:lnTo>
                <a:lnTo>
                  <a:pt x="2749004" y="1777720"/>
                </a:lnTo>
                <a:lnTo>
                  <a:pt x="2730893" y="1818957"/>
                </a:lnTo>
                <a:lnTo>
                  <a:pt x="2710675" y="1859000"/>
                </a:lnTo>
                <a:lnTo>
                  <a:pt x="2688425" y="1897786"/>
                </a:lnTo>
                <a:lnTo>
                  <a:pt x="2664193" y="1935238"/>
                </a:lnTo>
                <a:lnTo>
                  <a:pt x="2638069" y="1971281"/>
                </a:lnTo>
                <a:lnTo>
                  <a:pt x="2610104" y="2005850"/>
                </a:lnTo>
                <a:lnTo>
                  <a:pt x="2580386" y="2038870"/>
                </a:lnTo>
                <a:lnTo>
                  <a:pt x="2548991" y="2070277"/>
                </a:lnTo>
                <a:lnTo>
                  <a:pt x="2515959" y="2099995"/>
                </a:lnTo>
                <a:lnTo>
                  <a:pt x="2481389" y="2127948"/>
                </a:lnTo>
                <a:lnTo>
                  <a:pt x="2445347" y="2154085"/>
                </a:lnTo>
                <a:lnTo>
                  <a:pt x="2407894" y="2178304"/>
                </a:lnTo>
                <a:lnTo>
                  <a:pt x="2369108" y="2200567"/>
                </a:lnTo>
                <a:lnTo>
                  <a:pt x="2329065" y="2220785"/>
                </a:lnTo>
                <a:lnTo>
                  <a:pt x="2287828" y="2238883"/>
                </a:lnTo>
                <a:lnTo>
                  <a:pt x="2245461" y="2254796"/>
                </a:lnTo>
                <a:lnTo>
                  <a:pt x="2202053" y="2268461"/>
                </a:lnTo>
                <a:lnTo>
                  <a:pt x="2157666" y="2279802"/>
                </a:lnTo>
                <a:lnTo>
                  <a:pt x="2112365" y="2288743"/>
                </a:lnTo>
                <a:lnTo>
                  <a:pt x="2066226" y="2295220"/>
                </a:lnTo>
                <a:lnTo>
                  <a:pt x="2019312" y="2299157"/>
                </a:lnTo>
                <a:lnTo>
                  <a:pt x="1971713" y="2300478"/>
                </a:lnTo>
                <a:lnTo>
                  <a:pt x="1919643" y="2298890"/>
                </a:lnTo>
                <a:lnTo>
                  <a:pt x="1868424" y="2294178"/>
                </a:lnTo>
                <a:lnTo>
                  <a:pt x="1818132" y="2286444"/>
                </a:lnTo>
                <a:lnTo>
                  <a:pt x="1768881" y="2275776"/>
                </a:lnTo>
                <a:lnTo>
                  <a:pt x="1720748" y="2262263"/>
                </a:lnTo>
                <a:lnTo>
                  <a:pt x="1673834" y="2245995"/>
                </a:lnTo>
                <a:lnTo>
                  <a:pt x="1628228" y="2227084"/>
                </a:lnTo>
                <a:lnTo>
                  <a:pt x="1584020" y="2205609"/>
                </a:lnTo>
                <a:lnTo>
                  <a:pt x="1541310" y="2181669"/>
                </a:lnTo>
                <a:lnTo>
                  <a:pt x="1500174" y="2155355"/>
                </a:lnTo>
                <a:lnTo>
                  <a:pt x="1460728" y="2126754"/>
                </a:lnTo>
                <a:lnTo>
                  <a:pt x="1423047" y="2095969"/>
                </a:lnTo>
                <a:lnTo>
                  <a:pt x="1387233" y="2063089"/>
                </a:lnTo>
                <a:lnTo>
                  <a:pt x="1353362" y="2028215"/>
                </a:lnTo>
                <a:lnTo>
                  <a:pt x="1321549" y="1991423"/>
                </a:lnTo>
                <a:lnTo>
                  <a:pt x="1291869" y="1952815"/>
                </a:lnTo>
                <a:lnTo>
                  <a:pt x="710323" y="2199678"/>
                </a:lnTo>
                <a:lnTo>
                  <a:pt x="735545" y="2241105"/>
                </a:lnTo>
                <a:lnTo>
                  <a:pt x="762088" y="2281631"/>
                </a:lnTo>
                <a:lnTo>
                  <a:pt x="789927" y="2321191"/>
                </a:lnTo>
                <a:lnTo>
                  <a:pt x="819023" y="2359787"/>
                </a:lnTo>
                <a:lnTo>
                  <a:pt x="849337" y="2397366"/>
                </a:lnTo>
                <a:lnTo>
                  <a:pt x="880859" y="2433917"/>
                </a:lnTo>
                <a:lnTo>
                  <a:pt x="913561" y="2469400"/>
                </a:lnTo>
                <a:lnTo>
                  <a:pt x="947394" y="2503792"/>
                </a:lnTo>
                <a:lnTo>
                  <a:pt x="982332" y="2537041"/>
                </a:lnTo>
                <a:lnTo>
                  <a:pt x="1018349" y="2569146"/>
                </a:lnTo>
                <a:lnTo>
                  <a:pt x="1055420" y="2600071"/>
                </a:lnTo>
                <a:lnTo>
                  <a:pt x="1093520" y="2629776"/>
                </a:lnTo>
                <a:lnTo>
                  <a:pt x="1132611" y="2658224"/>
                </a:lnTo>
                <a:lnTo>
                  <a:pt x="1172654" y="2685402"/>
                </a:lnTo>
                <a:lnTo>
                  <a:pt x="1213637" y="2711285"/>
                </a:lnTo>
                <a:lnTo>
                  <a:pt x="1255509" y="2735821"/>
                </a:lnTo>
                <a:lnTo>
                  <a:pt x="1298270" y="2758986"/>
                </a:lnTo>
                <a:lnTo>
                  <a:pt x="1341856" y="2780766"/>
                </a:lnTo>
                <a:lnTo>
                  <a:pt x="1386268" y="2801124"/>
                </a:lnTo>
                <a:lnTo>
                  <a:pt x="1431455" y="2820009"/>
                </a:lnTo>
                <a:lnTo>
                  <a:pt x="1477403" y="2837421"/>
                </a:lnTo>
                <a:lnTo>
                  <a:pt x="1524063" y="2853321"/>
                </a:lnTo>
                <a:lnTo>
                  <a:pt x="1571434" y="2867660"/>
                </a:lnTo>
                <a:lnTo>
                  <a:pt x="1619453" y="2880436"/>
                </a:lnTo>
                <a:lnTo>
                  <a:pt x="1668106" y="2891599"/>
                </a:lnTo>
                <a:lnTo>
                  <a:pt x="1717370" y="2901137"/>
                </a:lnTo>
                <a:lnTo>
                  <a:pt x="1767217" y="2908998"/>
                </a:lnTo>
                <a:lnTo>
                  <a:pt x="1817598" y="2915170"/>
                </a:lnTo>
                <a:lnTo>
                  <a:pt x="1868487" y="2919615"/>
                </a:lnTo>
                <a:lnTo>
                  <a:pt x="1919871" y="2922295"/>
                </a:lnTo>
                <a:lnTo>
                  <a:pt x="1971713" y="2923197"/>
                </a:lnTo>
                <a:lnTo>
                  <a:pt x="2021674" y="2922359"/>
                </a:lnTo>
                <a:lnTo>
                  <a:pt x="2071204" y="2919869"/>
                </a:lnTo>
                <a:lnTo>
                  <a:pt x="2120303" y="2915742"/>
                </a:lnTo>
                <a:lnTo>
                  <a:pt x="2168918" y="2910001"/>
                </a:lnTo>
                <a:lnTo>
                  <a:pt x="2217039" y="2902699"/>
                </a:lnTo>
                <a:lnTo>
                  <a:pt x="2264626" y="2893834"/>
                </a:lnTo>
                <a:lnTo>
                  <a:pt x="2311654" y="2883446"/>
                </a:lnTo>
                <a:lnTo>
                  <a:pt x="2358110" y="2871571"/>
                </a:lnTo>
                <a:lnTo>
                  <a:pt x="2403957" y="2858211"/>
                </a:lnTo>
                <a:lnTo>
                  <a:pt x="2449157" y="2843415"/>
                </a:lnTo>
                <a:lnTo>
                  <a:pt x="2493708" y="2827197"/>
                </a:lnTo>
                <a:lnTo>
                  <a:pt x="2537574" y="2809595"/>
                </a:lnTo>
                <a:lnTo>
                  <a:pt x="2580716" y="2790621"/>
                </a:lnTo>
                <a:lnTo>
                  <a:pt x="2623121" y="2770314"/>
                </a:lnTo>
                <a:lnTo>
                  <a:pt x="2664764" y="2748699"/>
                </a:lnTo>
                <a:lnTo>
                  <a:pt x="2705595" y="2725801"/>
                </a:lnTo>
                <a:lnTo>
                  <a:pt x="2745625" y="2701645"/>
                </a:lnTo>
                <a:lnTo>
                  <a:pt x="2784792" y="2676258"/>
                </a:lnTo>
                <a:lnTo>
                  <a:pt x="2823095" y="2649664"/>
                </a:lnTo>
                <a:lnTo>
                  <a:pt x="2860484" y="2621902"/>
                </a:lnTo>
                <a:lnTo>
                  <a:pt x="2896946" y="2592984"/>
                </a:lnTo>
                <a:lnTo>
                  <a:pt x="2932468" y="2562949"/>
                </a:lnTo>
                <a:lnTo>
                  <a:pt x="2966986" y="2531808"/>
                </a:lnTo>
                <a:lnTo>
                  <a:pt x="3000514" y="2499601"/>
                </a:lnTo>
                <a:lnTo>
                  <a:pt x="3033001" y="2466352"/>
                </a:lnTo>
                <a:lnTo>
                  <a:pt x="3064421" y="2432100"/>
                </a:lnTo>
                <a:lnTo>
                  <a:pt x="3094761" y="2396845"/>
                </a:lnTo>
                <a:lnTo>
                  <a:pt x="3123984" y="2360625"/>
                </a:lnTo>
                <a:lnTo>
                  <a:pt x="3152063" y="2323477"/>
                </a:lnTo>
                <a:lnTo>
                  <a:pt x="3178962" y="2285415"/>
                </a:lnTo>
                <a:lnTo>
                  <a:pt x="3204680" y="2246477"/>
                </a:lnTo>
                <a:lnTo>
                  <a:pt x="3229178" y="2206675"/>
                </a:lnTo>
                <a:lnTo>
                  <a:pt x="3252419" y="2166048"/>
                </a:lnTo>
                <a:lnTo>
                  <a:pt x="3274377" y="2124621"/>
                </a:lnTo>
                <a:lnTo>
                  <a:pt x="3295053" y="2082419"/>
                </a:lnTo>
                <a:lnTo>
                  <a:pt x="3314382" y="2039467"/>
                </a:lnTo>
                <a:lnTo>
                  <a:pt x="3332365" y="1995792"/>
                </a:lnTo>
                <a:lnTo>
                  <a:pt x="3348964" y="1951431"/>
                </a:lnTo>
                <a:lnTo>
                  <a:pt x="3364153" y="1906384"/>
                </a:lnTo>
                <a:lnTo>
                  <a:pt x="3377908" y="1860715"/>
                </a:lnTo>
                <a:lnTo>
                  <a:pt x="3390188" y="1814423"/>
                </a:lnTo>
                <a:lnTo>
                  <a:pt x="3400996" y="1767535"/>
                </a:lnTo>
                <a:lnTo>
                  <a:pt x="3943426" y="1537271"/>
                </a:lnTo>
                <a:lnTo>
                  <a:pt x="3943426" y="82730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Titre 16">
            <a:extLst>
              <a:ext uri="{FF2B5EF4-FFF2-40B4-BE49-F238E27FC236}">
                <a16:creationId xmlns:a16="http://schemas.microsoft.com/office/drawing/2014/main" id="{5B45F392-194C-204C-A486-157BB5A268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8075" y="1002182"/>
            <a:ext cx="5464175" cy="1088081"/>
          </a:xfrm>
        </p:spPr>
        <p:txBody>
          <a:bodyPr wrap="square">
            <a:noAutofit/>
          </a:bodyPr>
          <a:lstStyle>
            <a:lvl1pPr>
              <a:defRPr b="0">
                <a:solidFill>
                  <a:schemeClr val="accent3"/>
                </a:solidFill>
              </a:defRPr>
            </a:lvl1pPr>
          </a:lstStyle>
          <a:p>
            <a:r>
              <a:rPr lang="fr-FR"/>
              <a:t>Titre de partie</a:t>
            </a:r>
          </a:p>
        </p:txBody>
      </p:sp>
      <p:sp>
        <p:nvSpPr>
          <p:cNvPr id="9" name="Espace réservé du numéro de diapositive 18">
            <a:extLst>
              <a:ext uri="{FF2B5EF4-FFF2-40B4-BE49-F238E27FC236}">
                <a16:creationId xmlns:a16="http://schemas.microsoft.com/office/drawing/2014/main" id="{18CFA8D8-690B-EB42-B30B-AB9B4EDB57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fld id="{3B5A6716-DBF2-AF4C-9665-1BA53E8D7A19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92843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. COUVERTURE-sim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>
            <a:extLst>
              <a:ext uri="{FF2B5EF4-FFF2-40B4-BE49-F238E27FC236}">
                <a16:creationId xmlns:a16="http://schemas.microsoft.com/office/drawing/2014/main" id="{8CE2F40F-8BDA-684C-9EEC-69D64349F3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821" y="2373775"/>
            <a:ext cx="7331704" cy="1052596"/>
          </a:xfrm>
        </p:spPr>
        <p:txBody>
          <a:bodyPr>
            <a:noAutofit/>
          </a:bodyPr>
          <a:lstStyle/>
          <a:p>
            <a:r>
              <a:rPr lang="fr-FR"/>
              <a:t>Titre principal | Page de gard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F6893A8-91A1-3E49-A80E-99A464DA83E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820" y="2041401"/>
            <a:ext cx="3584575" cy="319926"/>
          </a:xfrm>
          <a:noFill/>
        </p:spPr>
        <p:txBody>
          <a:bodyPr>
            <a:noAutofit/>
          </a:bodyPr>
          <a:lstStyle>
            <a:lvl1pPr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/>
              <a:t>Date</a:t>
            </a:r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F6863FBF-A22E-1E46-B0A4-6FA57E1E48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1819" y="3438819"/>
            <a:ext cx="7331705" cy="1277612"/>
          </a:xfrm>
          <a:noFill/>
        </p:spPr>
        <p:txBody>
          <a:bodyPr wrap="square" tIns="360000">
            <a:noAutofit/>
          </a:bodyPr>
          <a:lstStyle>
            <a:lvl1pPr>
              <a:defRPr sz="2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Sous-titre et/ou nom du client</a:t>
            </a:r>
          </a:p>
        </p:txBody>
      </p:sp>
      <p:sp>
        <p:nvSpPr>
          <p:cNvPr id="11" name="object 4">
            <a:extLst>
              <a:ext uri="{FF2B5EF4-FFF2-40B4-BE49-F238E27FC236}">
                <a16:creationId xmlns:a16="http://schemas.microsoft.com/office/drawing/2014/main" id="{D5AE9ADF-F342-9D40-BF70-0264EB47A8B6}"/>
              </a:ext>
            </a:extLst>
          </p:cNvPr>
          <p:cNvSpPr/>
          <p:nvPr userDrawn="1"/>
        </p:nvSpPr>
        <p:spPr>
          <a:xfrm>
            <a:off x="540000" y="932606"/>
            <a:ext cx="11113770" cy="0"/>
          </a:xfrm>
          <a:custGeom>
            <a:avLst/>
            <a:gdLst/>
            <a:ahLst/>
            <a:cxnLst/>
            <a:rect l="l" t="t" r="r" b="b"/>
            <a:pathLst>
              <a:path w="11113770">
                <a:moveTo>
                  <a:pt x="0" y="0"/>
                </a:moveTo>
                <a:lnTo>
                  <a:pt x="11113198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57079574-FB4D-AC45-B732-F706204933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9157" y="555660"/>
            <a:ext cx="1123804" cy="188533"/>
          </a:xfrm>
          <a:prstGeom prst="rect">
            <a:avLst/>
          </a:prstGeom>
        </p:spPr>
      </p:pic>
      <p:sp>
        <p:nvSpPr>
          <p:cNvPr id="14" name="object 3">
            <a:extLst>
              <a:ext uri="{FF2B5EF4-FFF2-40B4-BE49-F238E27FC236}">
                <a16:creationId xmlns:a16="http://schemas.microsoft.com/office/drawing/2014/main" id="{6DC42EB9-E334-A242-B22A-3D3912248CDE}"/>
              </a:ext>
            </a:extLst>
          </p:cNvPr>
          <p:cNvSpPr/>
          <p:nvPr userDrawn="1"/>
        </p:nvSpPr>
        <p:spPr>
          <a:xfrm>
            <a:off x="540000" y="5354996"/>
            <a:ext cx="11113770" cy="0"/>
          </a:xfrm>
          <a:custGeom>
            <a:avLst/>
            <a:gdLst/>
            <a:ahLst/>
            <a:cxnLst/>
            <a:rect l="l" t="t" r="r" b="b"/>
            <a:pathLst>
              <a:path w="11113770">
                <a:moveTo>
                  <a:pt x="0" y="0"/>
                </a:moveTo>
                <a:lnTo>
                  <a:pt x="11113198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5BCA094-6333-8442-AF15-469747FDD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5396" y="5572124"/>
            <a:ext cx="2536825" cy="961410"/>
          </a:xfr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600" b="0">
                <a:latin typeface="Century Gothic" panose="020B0502020202020204" pitchFamily="34" charset="0"/>
              </a:defRPr>
            </a:lvl2pPr>
            <a:lvl3pPr>
              <a:defRPr sz="1600" b="0">
                <a:latin typeface="Century Gothic" panose="020B0502020202020204" pitchFamily="34" charset="0"/>
              </a:defRPr>
            </a:lvl3pPr>
            <a:lvl4pPr>
              <a:defRPr sz="1600" b="0">
                <a:latin typeface="Century Gothic" panose="020B0502020202020204" pitchFamily="34" charset="0"/>
              </a:defRPr>
            </a:lvl4pPr>
            <a:lvl5pPr>
              <a:defRPr sz="1600" b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/>
              <a:t>Prénom Nom Personne 1</a:t>
            </a:r>
          </a:p>
          <a:p>
            <a:pPr lvl="0"/>
            <a:r>
              <a:rPr lang="fr-FR"/>
              <a:t>Prénom Nom Personne 2</a:t>
            </a:r>
          </a:p>
          <a:p>
            <a:pPr lvl="0"/>
            <a:r>
              <a:rPr lang="fr-FR"/>
              <a:t>Prénom Nom Personne 3</a:t>
            </a:r>
          </a:p>
          <a:p>
            <a:pPr lvl="0"/>
            <a:r>
              <a:rPr lang="fr-FR"/>
              <a:t>Prénom Nom Personne 4</a:t>
            </a:r>
          </a:p>
        </p:txBody>
      </p:sp>
      <p:sp>
        <p:nvSpPr>
          <p:cNvPr id="17" name="Espace réservé du texte 3">
            <a:extLst>
              <a:ext uri="{FF2B5EF4-FFF2-40B4-BE49-F238E27FC236}">
                <a16:creationId xmlns:a16="http://schemas.microsoft.com/office/drawing/2014/main" id="{D19F14FB-20D9-D345-B1A3-CE453E122B5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2623" y="5572123"/>
            <a:ext cx="5380338" cy="9614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600" b="0">
                <a:latin typeface="Century Gothic" panose="020B0502020202020204" pitchFamily="34" charset="0"/>
              </a:defRPr>
            </a:lvl2pPr>
            <a:lvl3pPr>
              <a:defRPr sz="1600" b="0">
                <a:latin typeface="Century Gothic" panose="020B0502020202020204" pitchFamily="34" charset="0"/>
              </a:defRPr>
            </a:lvl3pPr>
            <a:lvl4pPr>
              <a:defRPr sz="1600" b="0">
                <a:latin typeface="Century Gothic" panose="020B0502020202020204" pitchFamily="34" charset="0"/>
              </a:defRPr>
            </a:lvl4pPr>
            <a:lvl5pPr>
              <a:defRPr sz="1600" b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/>
              <a:t>personne1@carbone4.com | numéro tél.</a:t>
            </a:r>
          </a:p>
          <a:p>
            <a:pPr lvl="0"/>
            <a:r>
              <a:rPr lang="fr-FR"/>
              <a:t>personne2@carbone4.com | numéro tél.</a:t>
            </a:r>
            <a:br>
              <a:rPr lang="fr-FR"/>
            </a:br>
            <a:r>
              <a:rPr lang="fr-FR"/>
              <a:t>personne3@carbone4.com | numéro tél.</a:t>
            </a:r>
          </a:p>
          <a:p>
            <a:pPr lvl="0"/>
            <a:r>
              <a:rPr lang="fr-FR"/>
              <a:t>personne4@carbone4.com | numéro tél.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F4D2FB57-A41E-C84B-A681-EFFE70CC3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49201" y="5572124"/>
            <a:ext cx="2876038" cy="9614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600" b="0">
                <a:latin typeface="Century Gothic" panose="020B0502020202020204" pitchFamily="34" charset="0"/>
              </a:defRPr>
            </a:lvl2pPr>
            <a:lvl3pPr>
              <a:defRPr sz="1600" b="0">
                <a:latin typeface="Century Gothic" panose="020B0502020202020204" pitchFamily="34" charset="0"/>
              </a:defRPr>
            </a:lvl3pPr>
            <a:lvl4pPr>
              <a:defRPr sz="1600" b="0">
                <a:latin typeface="Century Gothic" panose="020B0502020202020204" pitchFamily="34" charset="0"/>
              </a:defRPr>
            </a:lvl4pPr>
            <a:lvl5pPr>
              <a:defRPr sz="1600" b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/>
              <a:t>Grade/poste Personne 1</a:t>
            </a:r>
          </a:p>
          <a:p>
            <a:pPr lvl="0"/>
            <a:r>
              <a:rPr lang="fr-FR"/>
              <a:t>Grade/poste Personne 2</a:t>
            </a:r>
          </a:p>
          <a:p>
            <a:pPr lvl="0"/>
            <a:r>
              <a:rPr lang="fr-FR"/>
              <a:t>Grade/poste Personne 3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Grade/poste Personne 4</a:t>
            </a:r>
          </a:p>
        </p:txBody>
      </p:sp>
      <p:pic>
        <p:nvPicPr>
          <p:cNvPr id="5" name="Image 4" descr="Une image contenant Police, Graphique, graphisme, logo&#10;&#10;Description générée automatiquement">
            <a:extLst>
              <a:ext uri="{FF2B5EF4-FFF2-40B4-BE49-F238E27FC236}">
                <a16:creationId xmlns:a16="http://schemas.microsoft.com/office/drawing/2014/main" id="{FB6D172F-44EB-AFD6-25A5-10B0A0B1C3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819" y="592375"/>
            <a:ext cx="976190" cy="246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3002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  <a:ea typeface="Hiragino Sans W4" panose="020B0400000000000000" pitchFamily="34" charset="-128"/>
              </a:defRPr>
            </a:lvl1pPr>
          </a:lstStyle>
          <a:p>
            <a:fld id="{04F6D7EA-7985-E848-9075-28DB7D193056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4" hasCustomPrompt="1"/>
          </p:nvPr>
        </p:nvSpPr>
        <p:spPr>
          <a:xfrm>
            <a:off x="478369" y="6248401"/>
            <a:ext cx="8745729" cy="493713"/>
          </a:xfrm>
          <a:prstGeom prst="rect">
            <a:avLst/>
          </a:prstGeom>
          <a:ln>
            <a:noFill/>
          </a:ln>
        </p:spPr>
        <p:txBody>
          <a:bodyPr anchor="b"/>
          <a:lstStyle>
            <a:lvl1pPr marL="3175" indent="0">
              <a:spcBef>
                <a:spcPts val="0"/>
              </a:spcBef>
              <a:spcAft>
                <a:spcPts val="0"/>
              </a:spcAft>
              <a:buNone/>
              <a:defRPr sz="900" baseline="0">
                <a:solidFill>
                  <a:srgbClr val="7F7F7F"/>
                </a:solidFill>
                <a:latin typeface="+mj-lt"/>
                <a:ea typeface="Hiragino Sans W4" panose="020B0400000000000000" pitchFamily="34" charset="-128"/>
              </a:defRPr>
            </a:lvl1pPr>
            <a:lvl2pPr marL="361950" indent="0">
              <a:buNone/>
              <a:defRPr sz="900">
                <a:solidFill>
                  <a:srgbClr val="7F7F7F"/>
                </a:solidFill>
              </a:defRPr>
            </a:lvl2pPr>
            <a:lvl3pPr marL="628650" indent="0">
              <a:buNone/>
              <a:defRPr sz="900">
                <a:solidFill>
                  <a:srgbClr val="7F7F7F"/>
                </a:solidFill>
              </a:defRPr>
            </a:lvl3pPr>
            <a:lvl4pPr marL="895350" indent="0">
              <a:buNone/>
              <a:defRPr sz="900">
                <a:solidFill>
                  <a:srgbClr val="7F7F7F"/>
                </a:solidFill>
              </a:defRPr>
            </a:lvl4pPr>
            <a:lvl5pPr marL="1162050" indent="0">
              <a:buNone/>
              <a:defRPr sz="900">
                <a:solidFill>
                  <a:srgbClr val="7F7F7F"/>
                </a:solidFill>
              </a:defRPr>
            </a:lvl5pPr>
          </a:lstStyle>
          <a:p>
            <a:pPr lvl="0"/>
            <a:r>
              <a:rPr lang="fr-FR"/>
              <a:t>Zone pour les sources ou remarques</a:t>
            </a:r>
          </a:p>
        </p:txBody>
      </p:sp>
      <p:sp>
        <p:nvSpPr>
          <p:cNvPr id="7" name="Espace réservé du texte 5">
            <a:extLst>
              <a:ext uri="{FF2B5EF4-FFF2-40B4-BE49-F238E27FC236}">
                <a16:creationId xmlns:a16="http://schemas.microsoft.com/office/drawing/2014/main" id="{A34CEBA8-17DA-45CD-82D4-E734EB9AAA0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8368" y="1216679"/>
            <a:ext cx="11213763" cy="49008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  <a:latin typeface="+mn-lt"/>
                <a:ea typeface="Hiragino Sans W4" panose="020B0400000000000000" pitchFamily="34" charset="-128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
Deuxième niveau
Troisième niveau
Quatrième niveau
Cinquième niveau 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40960DC7-FE51-C142-9E29-633B6F91DA74}"/>
              </a:ext>
            </a:extLst>
          </p:cNvPr>
          <p:cNvSpPr txBox="1"/>
          <p:nvPr userDrawn="1"/>
        </p:nvSpPr>
        <p:spPr>
          <a:xfrm>
            <a:off x="12099403" y="5683170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fr-FR" sz="1200">
              <a:latin typeface="+mj-lt"/>
              <a:ea typeface="Hiragino Sans W4" panose="020B0400000000000000" pitchFamily="34" charset="-128"/>
              <a:cs typeface="Century Gothic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54EA669-22D5-1543-A6A3-447B842C2EAC}"/>
              </a:ext>
            </a:extLst>
          </p:cNvPr>
          <p:cNvSpPr txBox="1"/>
          <p:nvPr userDrawn="1"/>
        </p:nvSpPr>
        <p:spPr>
          <a:xfrm>
            <a:off x="12053104" y="6041985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fr-FR" sz="1200">
              <a:latin typeface="+mj-lt"/>
              <a:ea typeface="Hiragino Sans W4" panose="020B0400000000000000" pitchFamily="34" charset="-128"/>
              <a:cs typeface="Century Gothic"/>
            </a:endParaRPr>
          </a:p>
        </p:txBody>
      </p:sp>
      <p:sp>
        <p:nvSpPr>
          <p:cNvPr id="11" name="Espace réservé du numéro de diapositive 1">
            <a:extLst>
              <a:ext uri="{FF2B5EF4-FFF2-40B4-BE49-F238E27FC236}">
                <a16:creationId xmlns:a16="http://schemas.microsoft.com/office/drawing/2014/main" id="{5CC966B6-770A-2548-A948-2DFE562589A6}"/>
              </a:ext>
            </a:extLst>
          </p:cNvPr>
          <p:cNvSpPr txBox="1">
            <a:spLocks/>
          </p:cNvSpPr>
          <p:nvPr userDrawn="1"/>
        </p:nvSpPr>
        <p:spPr>
          <a:xfrm>
            <a:off x="11430995" y="5292863"/>
            <a:ext cx="423333" cy="276998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endParaRPr lang="en-US" sz="80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14" name="Espace réservé du numéro de diapositive 18">
            <a:extLst>
              <a:ext uri="{FF2B5EF4-FFF2-40B4-BE49-F238E27FC236}">
                <a16:creationId xmlns:a16="http://schemas.microsoft.com/office/drawing/2014/main" id="{0B2C49DA-59AE-344C-C1DE-FEAB03821615}"/>
              </a:ext>
            </a:extLst>
          </p:cNvPr>
          <p:cNvSpPr txBox="1">
            <a:spLocks/>
          </p:cNvSpPr>
          <p:nvPr userDrawn="1"/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5A6716-DBF2-AF4C-9665-1BA53E8D7A19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933202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03. PAGE-standard-fond gris part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F8E4B97-FA14-802F-65B4-18D3A5816823}"/>
              </a:ext>
            </a:extLst>
          </p:cNvPr>
          <p:cNvSpPr/>
          <p:nvPr userDrawn="1"/>
        </p:nvSpPr>
        <p:spPr>
          <a:xfrm>
            <a:off x="0" y="1820174"/>
            <a:ext cx="12192000" cy="50378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5494B95-1F29-044B-A910-00151438DD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6574" y="314960"/>
            <a:ext cx="11115675" cy="896400"/>
          </a:xfrm>
        </p:spPr>
        <p:txBody>
          <a:bodyPr/>
          <a:lstStyle>
            <a:lvl1pPr>
              <a:defRPr b="1" i="0">
                <a:latin typeface="CocogooseProNarrow Darkmode" panose="00000400000000000000" pitchFamily="2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1" name="Espace réservé du numéro de diapositive 18">
            <a:extLst>
              <a:ext uri="{FF2B5EF4-FFF2-40B4-BE49-F238E27FC236}">
                <a16:creationId xmlns:a16="http://schemas.microsoft.com/office/drawing/2014/main" id="{062A5E12-47A6-6A41-93E9-892AEF0EE2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200" b="0">
                <a:solidFill>
                  <a:schemeClr val="accent1"/>
                </a:solidFill>
              </a:defRPr>
            </a:lvl1pPr>
          </a:lstStyle>
          <a:p>
            <a:fld id="{3B5A6716-DBF2-AF4C-9665-1BA53E8D7A1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9D78A4D0-8C28-434D-A70C-10123983D74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9990318" y="6407232"/>
            <a:ext cx="931321" cy="145377"/>
          </a:xfrm>
          <a:prstGeom prst="rect">
            <a:avLst/>
          </a:prstGeom>
          <a:noFill/>
        </p:spPr>
      </p:pic>
      <p:pic>
        <p:nvPicPr>
          <p:cNvPr id="7" name="Image 6" descr="Une image contenant Graphique, Police, graphisme, capture d’écran&#10;&#10;Description générée automatiquement">
            <a:extLst>
              <a:ext uri="{FF2B5EF4-FFF2-40B4-BE49-F238E27FC236}">
                <a16:creationId xmlns:a16="http://schemas.microsoft.com/office/drawing/2014/main" id="{E34944A9-AF03-4261-A11B-1D6BB45997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574" y="6344954"/>
            <a:ext cx="931321" cy="234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386734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03. PAGE-standard-fond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F8E4B97-FA14-802F-65B4-18D3A58168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5494B95-1F29-044B-A910-00151438DD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>
                <a:latin typeface="CocogooseProNarrow Darkmode" panose="00000400000000000000" pitchFamily="2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1" name="Espace réservé du numéro de diapositive 18">
            <a:extLst>
              <a:ext uri="{FF2B5EF4-FFF2-40B4-BE49-F238E27FC236}">
                <a16:creationId xmlns:a16="http://schemas.microsoft.com/office/drawing/2014/main" id="{062A5E12-47A6-6A41-93E9-892AEF0EE2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200" b="0">
                <a:solidFill>
                  <a:schemeClr val="accent1"/>
                </a:solidFill>
              </a:defRPr>
            </a:lvl1pPr>
          </a:lstStyle>
          <a:p>
            <a:fld id="{3B5A6716-DBF2-AF4C-9665-1BA53E8D7A1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9D78A4D0-8C28-434D-A70C-10123983D74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9990318" y="6407232"/>
            <a:ext cx="931321" cy="145377"/>
          </a:xfrm>
          <a:prstGeom prst="rect">
            <a:avLst/>
          </a:prstGeom>
          <a:noFill/>
        </p:spPr>
      </p:pic>
      <p:pic>
        <p:nvPicPr>
          <p:cNvPr id="4" name="Image 3" descr="Une image contenant Graphique, Police, graphisme, capture d’écran&#10;&#10;Description générée automatiquement">
            <a:extLst>
              <a:ext uri="{FF2B5EF4-FFF2-40B4-BE49-F238E27FC236}">
                <a16:creationId xmlns:a16="http://schemas.microsoft.com/office/drawing/2014/main" id="{001EBDFF-2AAC-B47F-93D7-D62A232797A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574" y="6344954"/>
            <a:ext cx="931321" cy="234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11710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03. PAGE-standard-titre_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Une image contenant habits, meubles, table, personne&#10;&#10;Description générée automatiquement">
            <a:extLst>
              <a:ext uri="{FF2B5EF4-FFF2-40B4-BE49-F238E27FC236}">
                <a16:creationId xmlns:a16="http://schemas.microsoft.com/office/drawing/2014/main" id="{92A82CAE-9B64-54A4-32A9-CD42B869E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201298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231610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3. PAGE-standard-titre+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pied de page 21">
            <a:extLst>
              <a:ext uri="{FF2B5EF4-FFF2-40B4-BE49-F238E27FC236}">
                <a16:creationId xmlns:a16="http://schemas.microsoft.com/office/drawing/2014/main" id="{EC98A262-2C05-1141-A8C6-A219AD4ADA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6575" y="6179795"/>
            <a:ext cx="9232900" cy="400050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sz="750" i="0" smtClean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EF42B427-5F62-EF49-A3DB-B11439E88F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6577" y="1484317"/>
            <a:ext cx="11115675" cy="4279899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27B4189-0641-E548-88DA-A30D1A2E6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5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numéro de diapositive 18">
            <a:extLst>
              <a:ext uri="{FF2B5EF4-FFF2-40B4-BE49-F238E27FC236}">
                <a16:creationId xmlns:a16="http://schemas.microsoft.com/office/drawing/2014/main" id="{8520D29F-265B-C04B-83DD-4ED91386E8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83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900" b="0">
                <a:solidFill>
                  <a:schemeClr val="accent1"/>
                </a:solidFill>
              </a:defRPr>
            </a:lvl1pPr>
          </a:lstStyle>
          <a:p>
            <a:fld id="{04F6D7EA-7985-E848-9075-28DB7D193056}" type="slidenum">
              <a:rPr lang="en-US" smtClean="0"/>
              <a:pPr/>
              <a:t>‹N°›</a:t>
            </a:fld>
            <a:endParaRPr lang="en-US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ED4607BA-20B7-904A-851E-54DEDEB7A94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9990321" y="6407236"/>
            <a:ext cx="931321" cy="1453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72901609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3. PAGE-standard-titre_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pied de page 21">
            <a:extLst>
              <a:ext uri="{FF2B5EF4-FFF2-40B4-BE49-F238E27FC236}">
                <a16:creationId xmlns:a16="http://schemas.microsoft.com/office/drawing/2014/main" id="{24553A4B-E194-6645-837D-65CB7D6C8F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6575" y="6179795"/>
            <a:ext cx="9232900" cy="400050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sz="750" i="0" smtClean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5494B95-1F29-044B-A910-00151438DD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5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1" name="Espace réservé du numéro de diapositive 18">
            <a:extLst>
              <a:ext uri="{FF2B5EF4-FFF2-40B4-BE49-F238E27FC236}">
                <a16:creationId xmlns:a16="http://schemas.microsoft.com/office/drawing/2014/main" id="{062A5E12-47A6-6A41-93E9-892AEF0EE2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83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900" b="0">
                <a:solidFill>
                  <a:schemeClr val="accent1"/>
                </a:solidFill>
              </a:defRPr>
            </a:lvl1pPr>
          </a:lstStyle>
          <a:p>
            <a:fld id="{04F6D7EA-7985-E848-9075-28DB7D193056}" type="slidenum">
              <a:rPr lang="en-US" smtClean="0"/>
              <a:pPr/>
              <a:t>‹N°›</a:t>
            </a:fld>
            <a:endParaRPr lang="en-US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9D78A4D0-8C28-434D-A70C-10123983D74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9990321" y="6407236"/>
            <a:ext cx="931321" cy="1453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29779333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3. PAGE-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18">
            <a:extLst>
              <a:ext uri="{FF2B5EF4-FFF2-40B4-BE49-F238E27FC236}">
                <a16:creationId xmlns:a16="http://schemas.microsoft.com/office/drawing/2014/main" id="{A3FD6698-E135-FD44-B50D-CF054315B0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83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900" b="0">
                <a:solidFill>
                  <a:schemeClr val="accent1"/>
                </a:solidFill>
              </a:defRPr>
            </a:lvl1pPr>
          </a:lstStyle>
          <a:p>
            <a:fld id="{04F6D7EA-7985-E848-9075-28DB7D193056}" type="slidenum">
              <a:rPr lang="en-US" smtClean="0"/>
              <a:pPr/>
              <a:t>‹N°›</a:t>
            </a:fld>
            <a:endParaRPr lang="en-US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F77D08A3-4D47-AB4F-9A49-663CCBC227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9990321" y="6407236"/>
            <a:ext cx="931321" cy="1453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27861063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numéro de diapositive 4">
            <a:extLst>
              <a:ext uri="{FF2B5EF4-FFF2-40B4-BE49-F238E27FC236}">
                <a16:creationId xmlns:a16="http://schemas.microsoft.com/office/drawing/2014/main" id="{360E9BA7-426C-400C-94D3-108C06263B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1215" y="6435022"/>
            <a:ext cx="564444" cy="276998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n-lt"/>
                <a:ea typeface="Hiragino Sans W4" panose="020B0400000000000000" pitchFamily="34" charset="-128"/>
              </a:defRPr>
            </a:lvl1pPr>
          </a:lstStyle>
          <a:p>
            <a:fld id="{04F6D7EA-7985-E848-9075-28DB7D193056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Espace réservé du contenu 9">
            <a:extLst>
              <a:ext uri="{FF2B5EF4-FFF2-40B4-BE49-F238E27FC236}">
                <a16:creationId xmlns:a16="http://schemas.microsoft.com/office/drawing/2014/main" id="{6B86DD7B-CCE6-4F8C-BCB1-69F65EA92B9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78370" y="6248403"/>
            <a:ext cx="8745729" cy="493713"/>
          </a:xfrm>
          <a:prstGeom prst="rect">
            <a:avLst/>
          </a:prstGeom>
          <a:ln>
            <a:noFill/>
          </a:ln>
        </p:spPr>
        <p:txBody>
          <a:bodyPr anchor="b"/>
          <a:lstStyle>
            <a:lvl1pPr marL="3175" indent="0">
              <a:buNone/>
              <a:defRPr sz="900" baseline="0">
                <a:solidFill>
                  <a:srgbClr val="7F7F7F"/>
                </a:solidFill>
                <a:latin typeface="+mn-lt"/>
                <a:ea typeface="Hiragino Sans W4" panose="020B0400000000000000" pitchFamily="34" charset="-128"/>
              </a:defRPr>
            </a:lvl1pPr>
            <a:lvl2pPr marL="361950" indent="0">
              <a:buNone/>
              <a:defRPr sz="900">
                <a:solidFill>
                  <a:srgbClr val="7F7F7F"/>
                </a:solidFill>
              </a:defRPr>
            </a:lvl2pPr>
            <a:lvl3pPr marL="628650" indent="0">
              <a:buNone/>
              <a:defRPr sz="900">
                <a:solidFill>
                  <a:srgbClr val="7F7F7F"/>
                </a:solidFill>
              </a:defRPr>
            </a:lvl3pPr>
            <a:lvl4pPr marL="895350" indent="0">
              <a:buNone/>
              <a:defRPr sz="900">
                <a:solidFill>
                  <a:srgbClr val="7F7F7F"/>
                </a:solidFill>
              </a:defRPr>
            </a:lvl4pPr>
            <a:lvl5pPr marL="1162050" indent="0">
              <a:buNone/>
              <a:defRPr sz="900">
                <a:solidFill>
                  <a:srgbClr val="7F7F7F"/>
                </a:solidFill>
              </a:defRPr>
            </a:lvl5pPr>
          </a:lstStyle>
          <a:p>
            <a:pPr lvl="0"/>
            <a:r>
              <a:rPr lang="fr-FR"/>
              <a:t>Zone pour les sources ou remarqu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E36A150-C607-1E44-9FD4-4577FDCF7E5F}"/>
              </a:ext>
            </a:extLst>
          </p:cNvPr>
          <p:cNvSpPr/>
          <p:nvPr userDrawn="1"/>
        </p:nvSpPr>
        <p:spPr>
          <a:xfrm>
            <a:off x="0" y="0"/>
            <a:ext cx="12192000" cy="1320800"/>
          </a:xfrm>
          <a:prstGeom prst="rect">
            <a:avLst/>
          </a:prstGeom>
          <a:solidFill>
            <a:schemeClr val="bg1"/>
          </a:solidFill>
          <a:ln w="19050" cmpd="sng"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66700" indent="-266700" algn="ctr" eaLnBrk="0" hangingPunct="0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Char char=""/>
            </a:pPr>
            <a:endParaRPr lang="en-US" sz="1400">
              <a:latin typeface="Century Gothic"/>
              <a:ea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29384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2. INTERCALAIRE-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5C0D79B3-B9A1-474C-8091-7E5EBC32F1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88074" y="2131793"/>
            <a:ext cx="5464176" cy="1582311"/>
          </a:xfrm>
          <a:noFill/>
        </p:spPr>
        <p:txBody>
          <a:bodyPr wrap="square" tIns="360000">
            <a:noAutofit/>
          </a:bodyPr>
          <a:lstStyle>
            <a:lvl1pPr>
              <a:defRPr sz="2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Sous-titre / Résumé</a:t>
            </a:r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id="{90C73A7F-3B52-DB4D-B343-81B2EEAF2557}"/>
              </a:ext>
            </a:extLst>
          </p:cNvPr>
          <p:cNvSpPr/>
          <p:nvPr userDrawn="1"/>
        </p:nvSpPr>
        <p:spPr>
          <a:xfrm>
            <a:off x="540000" y="759854"/>
            <a:ext cx="11113770" cy="0"/>
          </a:xfrm>
          <a:custGeom>
            <a:avLst/>
            <a:gdLst/>
            <a:ahLst/>
            <a:cxnLst/>
            <a:rect l="l" t="t" r="r" b="b"/>
            <a:pathLst>
              <a:path w="11113770">
                <a:moveTo>
                  <a:pt x="0" y="0"/>
                </a:moveTo>
                <a:lnTo>
                  <a:pt x="11113198" y="0"/>
                </a:lnTo>
              </a:path>
            </a:pathLst>
          </a:custGeom>
          <a:ln w="3175">
            <a:solidFill>
              <a:schemeClr val="bg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9958C6AA-0D04-5D4C-9725-11C53FE42E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560" y="542154"/>
            <a:ext cx="693329" cy="116315"/>
          </a:xfrm>
          <a:prstGeom prst="rect">
            <a:avLst/>
          </a:prstGeom>
        </p:spPr>
      </p:pic>
      <p:sp>
        <p:nvSpPr>
          <p:cNvPr id="15" name="object 5">
            <a:extLst>
              <a:ext uri="{FF2B5EF4-FFF2-40B4-BE49-F238E27FC236}">
                <a16:creationId xmlns:a16="http://schemas.microsoft.com/office/drawing/2014/main" id="{095C6BFC-00A6-704F-9032-B6766EC3CB9B}"/>
              </a:ext>
            </a:extLst>
          </p:cNvPr>
          <p:cNvSpPr/>
          <p:nvPr userDrawn="1"/>
        </p:nvSpPr>
        <p:spPr>
          <a:xfrm>
            <a:off x="11463642" y="539642"/>
            <a:ext cx="188608" cy="139808"/>
          </a:xfrm>
          <a:custGeom>
            <a:avLst/>
            <a:gdLst/>
            <a:ahLst/>
            <a:cxnLst/>
            <a:rect l="l" t="t" r="r" b="b"/>
            <a:pathLst>
              <a:path w="3943985" h="2923540">
                <a:moveTo>
                  <a:pt x="3233102" y="723531"/>
                </a:moveTo>
                <a:lnTo>
                  <a:pt x="3207880" y="682091"/>
                </a:lnTo>
                <a:lnTo>
                  <a:pt x="3181324" y="641578"/>
                </a:lnTo>
                <a:lnTo>
                  <a:pt x="3153499" y="602018"/>
                </a:lnTo>
                <a:lnTo>
                  <a:pt x="3124403" y="563422"/>
                </a:lnTo>
                <a:lnTo>
                  <a:pt x="3094075" y="525830"/>
                </a:lnTo>
                <a:lnTo>
                  <a:pt x="3062554" y="489280"/>
                </a:lnTo>
                <a:lnTo>
                  <a:pt x="3029864" y="453809"/>
                </a:lnTo>
                <a:lnTo>
                  <a:pt x="2996031" y="419417"/>
                </a:lnTo>
                <a:lnTo>
                  <a:pt x="2961094" y="386156"/>
                </a:lnTo>
                <a:lnTo>
                  <a:pt x="2925064" y="354050"/>
                </a:lnTo>
                <a:lnTo>
                  <a:pt x="2887992" y="323126"/>
                </a:lnTo>
                <a:lnTo>
                  <a:pt x="2849905" y="293433"/>
                </a:lnTo>
                <a:lnTo>
                  <a:pt x="2810814" y="264972"/>
                </a:lnTo>
                <a:lnTo>
                  <a:pt x="2770771" y="237794"/>
                </a:lnTo>
                <a:lnTo>
                  <a:pt x="2729788" y="211912"/>
                </a:lnTo>
                <a:lnTo>
                  <a:pt x="2687904" y="187375"/>
                </a:lnTo>
                <a:lnTo>
                  <a:pt x="2645156" y="164211"/>
                </a:lnTo>
                <a:lnTo>
                  <a:pt x="2601557" y="142430"/>
                </a:lnTo>
                <a:lnTo>
                  <a:pt x="2557157" y="122085"/>
                </a:lnTo>
                <a:lnTo>
                  <a:pt x="2511971" y="103187"/>
                </a:lnTo>
                <a:lnTo>
                  <a:pt x="2466022" y="85775"/>
                </a:lnTo>
                <a:lnTo>
                  <a:pt x="2419350" y="69875"/>
                </a:lnTo>
                <a:lnTo>
                  <a:pt x="2371991" y="55537"/>
                </a:lnTo>
                <a:lnTo>
                  <a:pt x="2323973" y="42760"/>
                </a:lnTo>
                <a:lnTo>
                  <a:pt x="2275306" y="31597"/>
                </a:lnTo>
                <a:lnTo>
                  <a:pt x="2226056" y="22059"/>
                </a:lnTo>
                <a:lnTo>
                  <a:pt x="2176208" y="14198"/>
                </a:lnTo>
                <a:lnTo>
                  <a:pt x="2125827" y="8026"/>
                </a:lnTo>
                <a:lnTo>
                  <a:pt x="2074938" y="3581"/>
                </a:lnTo>
                <a:lnTo>
                  <a:pt x="2023554" y="901"/>
                </a:lnTo>
                <a:lnTo>
                  <a:pt x="1971713" y="0"/>
                </a:lnTo>
                <a:lnTo>
                  <a:pt x="1921725" y="838"/>
                </a:lnTo>
                <a:lnTo>
                  <a:pt x="1872157" y="3340"/>
                </a:lnTo>
                <a:lnTo>
                  <a:pt x="1823034" y="7467"/>
                </a:lnTo>
                <a:lnTo>
                  <a:pt x="1774393" y="13208"/>
                </a:lnTo>
                <a:lnTo>
                  <a:pt x="1726247" y="20523"/>
                </a:lnTo>
                <a:lnTo>
                  <a:pt x="1678635" y="29400"/>
                </a:lnTo>
                <a:lnTo>
                  <a:pt x="1631569" y="39789"/>
                </a:lnTo>
                <a:lnTo>
                  <a:pt x="1585099" y="51689"/>
                </a:lnTo>
                <a:lnTo>
                  <a:pt x="1539227" y="65062"/>
                </a:lnTo>
                <a:lnTo>
                  <a:pt x="1493989" y="79870"/>
                </a:lnTo>
                <a:lnTo>
                  <a:pt x="1449425" y="96100"/>
                </a:lnTo>
                <a:lnTo>
                  <a:pt x="1405534" y="113728"/>
                </a:lnTo>
                <a:lnTo>
                  <a:pt x="1362367" y="132715"/>
                </a:lnTo>
                <a:lnTo>
                  <a:pt x="1319949" y="153047"/>
                </a:lnTo>
                <a:lnTo>
                  <a:pt x="1278293" y="174688"/>
                </a:lnTo>
                <a:lnTo>
                  <a:pt x="1237437" y="197612"/>
                </a:lnTo>
                <a:lnTo>
                  <a:pt x="1197394" y="221792"/>
                </a:lnTo>
                <a:lnTo>
                  <a:pt x="1158214" y="247218"/>
                </a:lnTo>
                <a:lnTo>
                  <a:pt x="1119898" y="273837"/>
                </a:lnTo>
                <a:lnTo>
                  <a:pt x="1082497" y="301625"/>
                </a:lnTo>
                <a:lnTo>
                  <a:pt x="1046022" y="330581"/>
                </a:lnTo>
                <a:lnTo>
                  <a:pt x="1010500" y="360641"/>
                </a:lnTo>
                <a:lnTo>
                  <a:pt x="975956" y="391820"/>
                </a:lnTo>
                <a:lnTo>
                  <a:pt x="942428" y="424053"/>
                </a:lnTo>
                <a:lnTo>
                  <a:pt x="909942" y="457339"/>
                </a:lnTo>
                <a:lnTo>
                  <a:pt x="878509" y="491629"/>
                </a:lnTo>
                <a:lnTo>
                  <a:pt x="848182" y="526923"/>
                </a:lnTo>
                <a:lnTo>
                  <a:pt x="818959" y="563181"/>
                </a:lnTo>
                <a:lnTo>
                  <a:pt x="790879" y="600367"/>
                </a:lnTo>
                <a:lnTo>
                  <a:pt x="763981" y="638467"/>
                </a:lnTo>
                <a:lnTo>
                  <a:pt x="738263" y="677443"/>
                </a:lnTo>
                <a:lnTo>
                  <a:pt x="713790" y="717283"/>
                </a:lnTo>
                <a:lnTo>
                  <a:pt x="690549" y="757948"/>
                </a:lnTo>
                <a:lnTo>
                  <a:pt x="668604" y="799414"/>
                </a:lnTo>
                <a:lnTo>
                  <a:pt x="647941" y="841654"/>
                </a:lnTo>
                <a:lnTo>
                  <a:pt x="628624" y="884643"/>
                </a:lnTo>
                <a:lnTo>
                  <a:pt x="610666" y="928370"/>
                </a:lnTo>
                <a:lnTo>
                  <a:pt x="594093" y="972769"/>
                </a:lnTo>
                <a:lnTo>
                  <a:pt x="578929" y="1017854"/>
                </a:lnTo>
                <a:lnTo>
                  <a:pt x="565200" y="1063574"/>
                </a:lnTo>
                <a:lnTo>
                  <a:pt x="552932" y="1109903"/>
                </a:lnTo>
                <a:lnTo>
                  <a:pt x="542163" y="1156830"/>
                </a:lnTo>
                <a:lnTo>
                  <a:pt x="0" y="1386954"/>
                </a:lnTo>
                <a:lnTo>
                  <a:pt x="0" y="2095906"/>
                </a:lnTo>
                <a:lnTo>
                  <a:pt x="1146073" y="1609420"/>
                </a:lnTo>
                <a:lnTo>
                  <a:pt x="1140396" y="1573161"/>
                </a:lnTo>
                <a:lnTo>
                  <a:pt x="1136243" y="1536433"/>
                </a:lnTo>
                <a:lnTo>
                  <a:pt x="1133690" y="1499247"/>
                </a:lnTo>
                <a:lnTo>
                  <a:pt x="1132814" y="1461617"/>
                </a:lnTo>
                <a:lnTo>
                  <a:pt x="1134148" y="1414005"/>
                </a:lnTo>
                <a:lnTo>
                  <a:pt x="1138085" y="1367104"/>
                </a:lnTo>
                <a:lnTo>
                  <a:pt x="1144549" y="1320965"/>
                </a:lnTo>
                <a:lnTo>
                  <a:pt x="1153502" y="1275664"/>
                </a:lnTo>
                <a:lnTo>
                  <a:pt x="1164831" y="1231265"/>
                </a:lnTo>
                <a:lnTo>
                  <a:pt x="1178496" y="1187856"/>
                </a:lnTo>
                <a:lnTo>
                  <a:pt x="1194422" y="1145489"/>
                </a:lnTo>
                <a:lnTo>
                  <a:pt x="1212519" y="1104252"/>
                </a:lnTo>
                <a:lnTo>
                  <a:pt x="1232738" y="1064196"/>
                </a:lnTo>
                <a:lnTo>
                  <a:pt x="1254988" y="1025423"/>
                </a:lnTo>
                <a:lnTo>
                  <a:pt x="1279220" y="987971"/>
                </a:lnTo>
                <a:lnTo>
                  <a:pt x="1305356" y="951915"/>
                </a:lnTo>
                <a:lnTo>
                  <a:pt x="1333309" y="917346"/>
                </a:lnTo>
                <a:lnTo>
                  <a:pt x="1363027" y="884326"/>
                </a:lnTo>
                <a:lnTo>
                  <a:pt x="1394434" y="852919"/>
                </a:lnTo>
                <a:lnTo>
                  <a:pt x="1427454" y="823201"/>
                </a:lnTo>
                <a:lnTo>
                  <a:pt x="1462024" y="795248"/>
                </a:lnTo>
                <a:lnTo>
                  <a:pt x="1498079" y="769112"/>
                </a:lnTo>
                <a:lnTo>
                  <a:pt x="1535518" y="744893"/>
                </a:lnTo>
                <a:lnTo>
                  <a:pt x="1574304" y="722630"/>
                </a:lnTo>
                <a:lnTo>
                  <a:pt x="1614360" y="702411"/>
                </a:lnTo>
                <a:lnTo>
                  <a:pt x="1655597" y="684314"/>
                </a:lnTo>
                <a:lnTo>
                  <a:pt x="1697951" y="668401"/>
                </a:lnTo>
                <a:lnTo>
                  <a:pt x="1741373" y="654735"/>
                </a:lnTo>
                <a:lnTo>
                  <a:pt x="1785759" y="643394"/>
                </a:lnTo>
                <a:lnTo>
                  <a:pt x="1831060" y="634453"/>
                </a:lnTo>
                <a:lnTo>
                  <a:pt x="1877199" y="627976"/>
                </a:lnTo>
                <a:lnTo>
                  <a:pt x="1924113" y="624039"/>
                </a:lnTo>
                <a:lnTo>
                  <a:pt x="1971713" y="622719"/>
                </a:lnTo>
                <a:lnTo>
                  <a:pt x="2023783" y="624306"/>
                </a:lnTo>
                <a:lnTo>
                  <a:pt x="2075002" y="629018"/>
                </a:lnTo>
                <a:lnTo>
                  <a:pt x="2125281" y="636752"/>
                </a:lnTo>
                <a:lnTo>
                  <a:pt x="2174532" y="647420"/>
                </a:lnTo>
                <a:lnTo>
                  <a:pt x="2222665" y="660933"/>
                </a:lnTo>
                <a:lnTo>
                  <a:pt x="2269579" y="677202"/>
                </a:lnTo>
                <a:lnTo>
                  <a:pt x="2315184" y="696112"/>
                </a:lnTo>
                <a:lnTo>
                  <a:pt x="2359393" y="717588"/>
                </a:lnTo>
                <a:lnTo>
                  <a:pt x="2402103" y="741527"/>
                </a:lnTo>
                <a:lnTo>
                  <a:pt x="2443238" y="767842"/>
                </a:lnTo>
                <a:lnTo>
                  <a:pt x="2482685" y="796442"/>
                </a:lnTo>
                <a:lnTo>
                  <a:pt x="2520365" y="827227"/>
                </a:lnTo>
                <a:lnTo>
                  <a:pt x="2556179" y="860107"/>
                </a:lnTo>
                <a:lnTo>
                  <a:pt x="2590050" y="894981"/>
                </a:lnTo>
                <a:lnTo>
                  <a:pt x="2621864" y="931773"/>
                </a:lnTo>
                <a:lnTo>
                  <a:pt x="2651544" y="970381"/>
                </a:lnTo>
                <a:lnTo>
                  <a:pt x="3233102" y="723531"/>
                </a:lnTo>
                <a:close/>
              </a:path>
              <a:path w="3943985" h="2923540">
                <a:moveTo>
                  <a:pt x="3943426" y="827303"/>
                </a:moveTo>
                <a:lnTo>
                  <a:pt x="2797352" y="1313776"/>
                </a:lnTo>
                <a:lnTo>
                  <a:pt x="2803029" y="1350035"/>
                </a:lnTo>
                <a:lnTo>
                  <a:pt x="2807182" y="1386776"/>
                </a:lnTo>
                <a:lnTo>
                  <a:pt x="2809735" y="1423962"/>
                </a:lnTo>
                <a:lnTo>
                  <a:pt x="2810599" y="1461604"/>
                </a:lnTo>
                <a:lnTo>
                  <a:pt x="2809265" y="1509217"/>
                </a:lnTo>
                <a:lnTo>
                  <a:pt x="2805328" y="1556118"/>
                </a:lnTo>
                <a:lnTo>
                  <a:pt x="2798864" y="1602257"/>
                </a:lnTo>
                <a:lnTo>
                  <a:pt x="2789910" y="1647558"/>
                </a:lnTo>
                <a:lnTo>
                  <a:pt x="2778582" y="1691944"/>
                </a:lnTo>
                <a:lnTo>
                  <a:pt x="2764917" y="1735353"/>
                </a:lnTo>
                <a:lnTo>
                  <a:pt x="2749004" y="1777720"/>
                </a:lnTo>
                <a:lnTo>
                  <a:pt x="2730893" y="1818957"/>
                </a:lnTo>
                <a:lnTo>
                  <a:pt x="2710675" y="1859000"/>
                </a:lnTo>
                <a:lnTo>
                  <a:pt x="2688425" y="1897786"/>
                </a:lnTo>
                <a:lnTo>
                  <a:pt x="2664193" y="1935238"/>
                </a:lnTo>
                <a:lnTo>
                  <a:pt x="2638069" y="1971281"/>
                </a:lnTo>
                <a:lnTo>
                  <a:pt x="2610104" y="2005850"/>
                </a:lnTo>
                <a:lnTo>
                  <a:pt x="2580386" y="2038870"/>
                </a:lnTo>
                <a:lnTo>
                  <a:pt x="2548991" y="2070277"/>
                </a:lnTo>
                <a:lnTo>
                  <a:pt x="2515959" y="2099995"/>
                </a:lnTo>
                <a:lnTo>
                  <a:pt x="2481389" y="2127948"/>
                </a:lnTo>
                <a:lnTo>
                  <a:pt x="2445347" y="2154085"/>
                </a:lnTo>
                <a:lnTo>
                  <a:pt x="2407894" y="2178304"/>
                </a:lnTo>
                <a:lnTo>
                  <a:pt x="2369108" y="2200567"/>
                </a:lnTo>
                <a:lnTo>
                  <a:pt x="2329065" y="2220785"/>
                </a:lnTo>
                <a:lnTo>
                  <a:pt x="2287828" y="2238883"/>
                </a:lnTo>
                <a:lnTo>
                  <a:pt x="2245461" y="2254796"/>
                </a:lnTo>
                <a:lnTo>
                  <a:pt x="2202053" y="2268461"/>
                </a:lnTo>
                <a:lnTo>
                  <a:pt x="2157666" y="2279802"/>
                </a:lnTo>
                <a:lnTo>
                  <a:pt x="2112365" y="2288743"/>
                </a:lnTo>
                <a:lnTo>
                  <a:pt x="2066226" y="2295220"/>
                </a:lnTo>
                <a:lnTo>
                  <a:pt x="2019312" y="2299157"/>
                </a:lnTo>
                <a:lnTo>
                  <a:pt x="1971713" y="2300478"/>
                </a:lnTo>
                <a:lnTo>
                  <a:pt x="1919643" y="2298890"/>
                </a:lnTo>
                <a:lnTo>
                  <a:pt x="1868424" y="2294178"/>
                </a:lnTo>
                <a:lnTo>
                  <a:pt x="1818132" y="2286444"/>
                </a:lnTo>
                <a:lnTo>
                  <a:pt x="1768881" y="2275776"/>
                </a:lnTo>
                <a:lnTo>
                  <a:pt x="1720748" y="2262263"/>
                </a:lnTo>
                <a:lnTo>
                  <a:pt x="1673834" y="2245995"/>
                </a:lnTo>
                <a:lnTo>
                  <a:pt x="1628228" y="2227084"/>
                </a:lnTo>
                <a:lnTo>
                  <a:pt x="1584020" y="2205609"/>
                </a:lnTo>
                <a:lnTo>
                  <a:pt x="1541310" y="2181669"/>
                </a:lnTo>
                <a:lnTo>
                  <a:pt x="1500174" y="2155355"/>
                </a:lnTo>
                <a:lnTo>
                  <a:pt x="1460728" y="2126754"/>
                </a:lnTo>
                <a:lnTo>
                  <a:pt x="1423047" y="2095969"/>
                </a:lnTo>
                <a:lnTo>
                  <a:pt x="1387233" y="2063089"/>
                </a:lnTo>
                <a:lnTo>
                  <a:pt x="1353362" y="2028215"/>
                </a:lnTo>
                <a:lnTo>
                  <a:pt x="1321549" y="1991423"/>
                </a:lnTo>
                <a:lnTo>
                  <a:pt x="1291869" y="1952815"/>
                </a:lnTo>
                <a:lnTo>
                  <a:pt x="710323" y="2199678"/>
                </a:lnTo>
                <a:lnTo>
                  <a:pt x="735545" y="2241105"/>
                </a:lnTo>
                <a:lnTo>
                  <a:pt x="762088" y="2281631"/>
                </a:lnTo>
                <a:lnTo>
                  <a:pt x="789927" y="2321191"/>
                </a:lnTo>
                <a:lnTo>
                  <a:pt x="819023" y="2359787"/>
                </a:lnTo>
                <a:lnTo>
                  <a:pt x="849337" y="2397366"/>
                </a:lnTo>
                <a:lnTo>
                  <a:pt x="880859" y="2433917"/>
                </a:lnTo>
                <a:lnTo>
                  <a:pt x="913561" y="2469400"/>
                </a:lnTo>
                <a:lnTo>
                  <a:pt x="947394" y="2503792"/>
                </a:lnTo>
                <a:lnTo>
                  <a:pt x="982332" y="2537041"/>
                </a:lnTo>
                <a:lnTo>
                  <a:pt x="1018349" y="2569146"/>
                </a:lnTo>
                <a:lnTo>
                  <a:pt x="1055420" y="2600071"/>
                </a:lnTo>
                <a:lnTo>
                  <a:pt x="1093520" y="2629776"/>
                </a:lnTo>
                <a:lnTo>
                  <a:pt x="1132611" y="2658224"/>
                </a:lnTo>
                <a:lnTo>
                  <a:pt x="1172654" y="2685402"/>
                </a:lnTo>
                <a:lnTo>
                  <a:pt x="1213637" y="2711285"/>
                </a:lnTo>
                <a:lnTo>
                  <a:pt x="1255509" y="2735821"/>
                </a:lnTo>
                <a:lnTo>
                  <a:pt x="1298270" y="2758986"/>
                </a:lnTo>
                <a:lnTo>
                  <a:pt x="1341856" y="2780766"/>
                </a:lnTo>
                <a:lnTo>
                  <a:pt x="1386268" y="2801124"/>
                </a:lnTo>
                <a:lnTo>
                  <a:pt x="1431455" y="2820009"/>
                </a:lnTo>
                <a:lnTo>
                  <a:pt x="1477403" y="2837421"/>
                </a:lnTo>
                <a:lnTo>
                  <a:pt x="1524063" y="2853321"/>
                </a:lnTo>
                <a:lnTo>
                  <a:pt x="1571434" y="2867660"/>
                </a:lnTo>
                <a:lnTo>
                  <a:pt x="1619453" y="2880436"/>
                </a:lnTo>
                <a:lnTo>
                  <a:pt x="1668106" y="2891599"/>
                </a:lnTo>
                <a:lnTo>
                  <a:pt x="1717370" y="2901137"/>
                </a:lnTo>
                <a:lnTo>
                  <a:pt x="1767217" y="2908998"/>
                </a:lnTo>
                <a:lnTo>
                  <a:pt x="1817598" y="2915170"/>
                </a:lnTo>
                <a:lnTo>
                  <a:pt x="1868487" y="2919615"/>
                </a:lnTo>
                <a:lnTo>
                  <a:pt x="1919871" y="2922295"/>
                </a:lnTo>
                <a:lnTo>
                  <a:pt x="1971713" y="2923197"/>
                </a:lnTo>
                <a:lnTo>
                  <a:pt x="2021674" y="2922359"/>
                </a:lnTo>
                <a:lnTo>
                  <a:pt x="2071204" y="2919869"/>
                </a:lnTo>
                <a:lnTo>
                  <a:pt x="2120303" y="2915742"/>
                </a:lnTo>
                <a:lnTo>
                  <a:pt x="2168918" y="2910001"/>
                </a:lnTo>
                <a:lnTo>
                  <a:pt x="2217039" y="2902699"/>
                </a:lnTo>
                <a:lnTo>
                  <a:pt x="2264626" y="2893834"/>
                </a:lnTo>
                <a:lnTo>
                  <a:pt x="2311654" y="2883446"/>
                </a:lnTo>
                <a:lnTo>
                  <a:pt x="2358110" y="2871571"/>
                </a:lnTo>
                <a:lnTo>
                  <a:pt x="2403957" y="2858211"/>
                </a:lnTo>
                <a:lnTo>
                  <a:pt x="2449157" y="2843415"/>
                </a:lnTo>
                <a:lnTo>
                  <a:pt x="2493708" y="2827197"/>
                </a:lnTo>
                <a:lnTo>
                  <a:pt x="2537574" y="2809595"/>
                </a:lnTo>
                <a:lnTo>
                  <a:pt x="2580716" y="2790621"/>
                </a:lnTo>
                <a:lnTo>
                  <a:pt x="2623121" y="2770314"/>
                </a:lnTo>
                <a:lnTo>
                  <a:pt x="2664764" y="2748699"/>
                </a:lnTo>
                <a:lnTo>
                  <a:pt x="2705595" y="2725801"/>
                </a:lnTo>
                <a:lnTo>
                  <a:pt x="2745625" y="2701645"/>
                </a:lnTo>
                <a:lnTo>
                  <a:pt x="2784792" y="2676258"/>
                </a:lnTo>
                <a:lnTo>
                  <a:pt x="2823095" y="2649664"/>
                </a:lnTo>
                <a:lnTo>
                  <a:pt x="2860484" y="2621902"/>
                </a:lnTo>
                <a:lnTo>
                  <a:pt x="2896946" y="2592984"/>
                </a:lnTo>
                <a:lnTo>
                  <a:pt x="2932468" y="2562949"/>
                </a:lnTo>
                <a:lnTo>
                  <a:pt x="2966986" y="2531808"/>
                </a:lnTo>
                <a:lnTo>
                  <a:pt x="3000514" y="2499601"/>
                </a:lnTo>
                <a:lnTo>
                  <a:pt x="3033001" y="2466352"/>
                </a:lnTo>
                <a:lnTo>
                  <a:pt x="3064421" y="2432100"/>
                </a:lnTo>
                <a:lnTo>
                  <a:pt x="3094761" y="2396845"/>
                </a:lnTo>
                <a:lnTo>
                  <a:pt x="3123984" y="2360625"/>
                </a:lnTo>
                <a:lnTo>
                  <a:pt x="3152063" y="2323477"/>
                </a:lnTo>
                <a:lnTo>
                  <a:pt x="3178962" y="2285415"/>
                </a:lnTo>
                <a:lnTo>
                  <a:pt x="3204680" y="2246477"/>
                </a:lnTo>
                <a:lnTo>
                  <a:pt x="3229178" y="2206675"/>
                </a:lnTo>
                <a:lnTo>
                  <a:pt x="3252419" y="2166048"/>
                </a:lnTo>
                <a:lnTo>
                  <a:pt x="3274377" y="2124621"/>
                </a:lnTo>
                <a:lnTo>
                  <a:pt x="3295053" y="2082419"/>
                </a:lnTo>
                <a:lnTo>
                  <a:pt x="3314382" y="2039467"/>
                </a:lnTo>
                <a:lnTo>
                  <a:pt x="3332365" y="1995792"/>
                </a:lnTo>
                <a:lnTo>
                  <a:pt x="3348964" y="1951431"/>
                </a:lnTo>
                <a:lnTo>
                  <a:pt x="3364153" y="1906384"/>
                </a:lnTo>
                <a:lnTo>
                  <a:pt x="3377908" y="1860715"/>
                </a:lnTo>
                <a:lnTo>
                  <a:pt x="3390188" y="1814423"/>
                </a:lnTo>
                <a:lnTo>
                  <a:pt x="3400996" y="1767535"/>
                </a:lnTo>
                <a:lnTo>
                  <a:pt x="3943426" y="1537271"/>
                </a:lnTo>
                <a:lnTo>
                  <a:pt x="3943426" y="82730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Titre 16">
            <a:extLst>
              <a:ext uri="{FF2B5EF4-FFF2-40B4-BE49-F238E27FC236}">
                <a16:creationId xmlns:a16="http://schemas.microsoft.com/office/drawing/2014/main" id="{5B45F392-194C-204C-A486-157BB5A268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8075" y="1002182"/>
            <a:ext cx="5464175" cy="1088081"/>
          </a:xfrm>
        </p:spPr>
        <p:txBody>
          <a:bodyPr wrap="square">
            <a:noAutofit/>
          </a:bodyPr>
          <a:lstStyle>
            <a:lvl1pPr>
              <a:defRPr b="0">
                <a:solidFill>
                  <a:schemeClr val="accent3"/>
                </a:solidFill>
              </a:defRPr>
            </a:lvl1pPr>
          </a:lstStyle>
          <a:p>
            <a:r>
              <a:rPr lang="fr-FR"/>
              <a:t>Titre de partie</a:t>
            </a:r>
          </a:p>
        </p:txBody>
      </p:sp>
      <p:sp>
        <p:nvSpPr>
          <p:cNvPr id="9" name="Espace réservé du numéro de diapositive 18">
            <a:extLst>
              <a:ext uri="{FF2B5EF4-FFF2-40B4-BE49-F238E27FC236}">
                <a16:creationId xmlns:a16="http://schemas.microsoft.com/office/drawing/2014/main" id="{18CFA8D8-690B-EB42-B30B-AB9B4EDB57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fld id="{3B5A6716-DBF2-AF4C-9665-1BA53E8D7A19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0957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, sous-titre SANS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4">
            <a:extLst>
              <a:ext uri="{FF2B5EF4-FFF2-40B4-BE49-F238E27FC236}">
                <a16:creationId xmlns:a16="http://schemas.microsoft.com/office/drawing/2014/main" id="{F67186E6-F713-4F99-916F-75062594F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1215" y="6435022"/>
            <a:ext cx="564444" cy="276998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  <a:ea typeface="Hiragino Sans W4" panose="020B0400000000000000" pitchFamily="34" charset="-128"/>
              </a:defRPr>
            </a:lvl1pPr>
          </a:lstStyle>
          <a:p>
            <a:fld id="{04F6D7EA-7985-E848-9075-28DB7D193056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1BA9BAAE-6852-414B-940A-6EE45085BD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377" y="163361"/>
            <a:ext cx="11350755" cy="336702"/>
          </a:xfrm>
        </p:spPr>
        <p:txBody>
          <a:bodyPr/>
          <a:lstStyle>
            <a:lvl1pPr>
              <a:defRPr sz="2000">
                <a:latin typeface="+mj-lt"/>
                <a:ea typeface="Hiragino Sans W4" panose="020B0400000000000000" pitchFamily="34" charset="-128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6">
            <a:extLst>
              <a:ext uri="{FF2B5EF4-FFF2-40B4-BE49-F238E27FC236}">
                <a16:creationId xmlns:a16="http://schemas.microsoft.com/office/drawing/2014/main" id="{3DBB70D0-464D-457B-B34D-BB9913CAD7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1376" y="500063"/>
            <a:ext cx="11351101" cy="298450"/>
          </a:xfrm>
          <a:prstGeom prst="rect">
            <a:avLst/>
          </a:prstGeom>
        </p:spPr>
        <p:txBody>
          <a:bodyPr anchor="ctr">
            <a:noAutofit/>
          </a:bodyPr>
          <a:lstStyle>
            <a:lvl1pPr marL="3175" indent="0">
              <a:buNone/>
              <a:defRPr sz="1600" i="1">
                <a:solidFill>
                  <a:srgbClr val="1A3E81"/>
                </a:solidFill>
                <a:latin typeface="+mj-lt"/>
                <a:ea typeface="Hiragino Sans W4" panose="020B0400000000000000" pitchFamily="34" charset="-128"/>
              </a:defRPr>
            </a:lvl1pPr>
          </a:lstStyle>
          <a:p>
            <a:pPr lvl="0"/>
            <a:r>
              <a:rPr lang="fr-FR"/>
              <a:t>Cliquez pour ajouter un sous-titre</a:t>
            </a:r>
          </a:p>
        </p:txBody>
      </p:sp>
      <p:sp>
        <p:nvSpPr>
          <p:cNvPr id="9" name="Espace réservé du contenu 9">
            <a:extLst>
              <a:ext uri="{FF2B5EF4-FFF2-40B4-BE49-F238E27FC236}">
                <a16:creationId xmlns:a16="http://schemas.microsoft.com/office/drawing/2014/main" id="{A0709293-50F3-4D12-B714-27041338E6F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78370" y="6248403"/>
            <a:ext cx="8745729" cy="493713"/>
          </a:xfrm>
          <a:prstGeom prst="rect">
            <a:avLst/>
          </a:prstGeom>
          <a:ln>
            <a:noFill/>
          </a:ln>
        </p:spPr>
        <p:txBody>
          <a:bodyPr anchor="b"/>
          <a:lstStyle>
            <a:lvl1pPr marL="3175" indent="0">
              <a:buNone/>
              <a:defRPr sz="900" baseline="0">
                <a:solidFill>
                  <a:srgbClr val="7F7F7F"/>
                </a:solidFill>
                <a:latin typeface="+mj-lt"/>
                <a:ea typeface="Hiragino Sans W4" panose="020B0400000000000000" pitchFamily="34" charset="-128"/>
              </a:defRPr>
            </a:lvl1pPr>
            <a:lvl2pPr marL="361950" indent="0">
              <a:buNone/>
              <a:defRPr sz="900">
                <a:solidFill>
                  <a:srgbClr val="7F7F7F"/>
                </a:solidFill>
              </a:defRPr>
            </a:lvl2pPr>
            <a:lvl3pPr marL="628650" indent="0">
              <a:buNone/>
              <a:defRPr sz="900">
                <a:solidFill>
                  <a:srgbClr val="7F7F7F"/>
                </a:solidFill>
              </a:defRPr>
            </a:lvl3pPr>
            <a:lvl4pPr marL="895350" indent="0">
              <a:buNone/>
              <a:defRPr sz="900">
                <a:solidFill>
                  <a:srgbClr val="7F7F7F"/>
                </a:solidFill>
              </a:defRPr>
            </a:lvl4pPr>
            <a:lvl5pPr marL="1162050" indent="0">
              <a:buNone/>
              <a:defRPr sz="900">
                <a:solidFill>
                  <a:srgbClr val="7F7F7F"/>
                </a:solidFill>
              </a:defRPr>
            </a:lvl5pPr>
          </a:lstStyle>
          <a:p>
            <a:pPr lvl="0"/>
            <a:r>
              <a:rPr lang="fr-FR"/>
              <a:t>Zone pour les sources ou remarques</a:t>
            </a:r>
          </a:p>
        </p:txBody>
      </p:sp>
    </p:spTree>
    <p:extLst>
      <p:ext uri="{BB962C8B-B14F-4D97-AF65-F5344CB8AC3E}">
        <p14:creationId xmlns:p14="http://schemas.microsoft.com/office/powerpoint/2010/main" val="18141374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 SANS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itre 1">
            <a:extLst>
              <a:ext uri="{FF2B5EF4-FFF2-40B4-BE49-F238E27FC236}">
                <a16:creationId xmlns:a16="http://schemas.microsoft.com/office/drawing/2014/main" id="{04EF1FCF-D357-4F07-98F6-573150AF11D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41378" y="163361"/>
            <a:ext cx="11350753" cy="635000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latin typeface="+mn-lt"/>
                <a:ea typeface="Hiragino Sans W4" panose="020B0400000000000000" pitchFamily="34" charset="-128"/>
              </a:defRPr>
            </a:lvl1pPr>
          </a:lstStyle>
          <a:p>
            <a:r>
              <a:rPr lang="fr-FR">
                <a:latin typeface="Century Gothic" charset="0"/>
              </a:rPr>
              <a:t>Modifiez le style du titre</a:t>
            </a:r>
            <a:endParaRPr lang="fr-FR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8" name="Espace réservé du contenu 9">
            <a:extLst>
              <a:ext uri="{FF2B5EF4-FFF2-40B4-BE49-F238E27FC236}">
                <a16:creationId xmlns:a16="http://schemas.microsoft.com/office/drawing/2014/main" id="{9CDAD4CC-1DAD-4579-814E-30549440C8F0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78370" y="6248403"/>
            <a:ext cx="8745729" cy="493713"/>
          </a:xfrm>
          <a:prstGeom prst="rect">
            <a:avLst/>
          </a:prstGeom>
          <a:ln>
            <a:noFill/>
          </a:ln>
        </p:spPr>
        <p:txBody>
          <a:bodyPr anchor="b"/>
          <a:lstStyle>
            <a:lvl1pPr marL="3175" indent="0">
              <a:buNone/>
              <a:defRPr sz="900" baseline="0">
                <a:solidFill>
                  <a:srgbClr val="7F7F7F"/>
                </a:solidFill>
                <a:latin typeface="+mn-lt"/>
                <a:ea typeface="Hiragino Sans W4" panose="020B0400000000000000" pitchFamily="34" charset="-128"/>
              </a:defRPr>
            </a:lvl1pPr>
            <a:lvl2pPr marL="361950" indent="0">
              <a:buNone/>
              <a:defRPr sz="900">
                <a:solidFill>
                  <a:srgbClr val="7F7F7F"/>
                </a:solidFill>
              </a:defRPr>
            </a:lvl2pPr>
            <a:lvl3pPr marL="628650" indent="0">
              <a:buNone/>
              <a:defRPr sz="900">
                <a:solidFill>
                  <a:srgbClr val="7F7F7F"/>
                </a:solidFill>
              </a:defRPr>
            </a:lvl3pPr>
            <a:lvl4pPr marL="895350" indent="0">
              <a:buNone/>
              <a:defRPr sz="900">
                <a:solidFill>
                  <a:srgbClr val="7F7F7F"/>
                </a:solidFill>
              </a:defRPr>
            </a:lvl4pPr>
            <a:lvl5pPr marL="1162050" indent="0">
              <a:buNone/>
              <a:defRPr sz="900">
                <a:solidFill>
                  <a:srgbClr val="7F7F7F"/>
                </a:solidFill>
              </a:defRPr>
            </a:lvl5pPr>
          </a:lstStyle>
          <a:p>
            <a:pPr lvl="0"/>
            <a:r>
              <a:rPr lang="fr-FR"/>
              <a:t>Zone pour les sources ou remarques</a:t>
            </a:r>
          </a:p>
        </p:txBody>
      </p:sp>
    </p:spTree>
    <p:extLst>
      <p:ext uri="{BB962C8B-B14F-4D97-AF65-F5344CB8AC3E}">
        <p14:creationId xmlns:p14="http://schemas.microsoft.com/office/powerpoint/2010/main" val="403444042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. COUVERTURE-sim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>
            <a:extLst>
              <a:ext uri="{FF2B5EF4-FFF2-40B4-BE49-F238E27FC236}">
                <a16:creationId xmlns:a16="http://schemas.microsoft.com/office/drawing/2014/main" id="{8CE2F40F-8BDA-684C-9EEC-69D64349F3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821" y="2373775"/>
            <a:ext cx="7331704" cy="1052596"/>
          </a:xfrm>
        </p:spPr>
        <p:txBody>
          <a:bodyPr>
            <a:noAutofit/>
          </a:bodyPr>
          <a:lstStyle/>
          <a:p>
            <a:r>
              <a:rPr lang="fr-FR"/>
              <a:t>Titre principal | Page de gard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F6893A8-91A1-3E49-A80E-99A464DA83E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820" y="2041401"/>
            <a:ext cx="3584575" cy="319926"/>
          </a:xfrm>
          <a:noFill/>
        </p:spPr>
        <p:txBody>
          <a:bodyPr>
            <a:noAutofit/>
          </a:bodyPr>
          <a:lstStyle>
            <a:lvl1pPr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/>
              <a:t>Date</a:t>
            </a:r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F6863FBF-A22E-1E46-B0A4-6FA57E1E48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1819" y="3438819"/>
            <a:ext cx="7331705" cy="1277612"/>
          </a:xfrm>
          <a:noFill/>
        </p:spPr>
        <p:txBody>
          <a:bodyPr wrap="square" tIns="360000">
            <a:noAutofit/>
          </a:bodyPr>
          <a:lstStyle>
            <a:lvl1pPr>
              <a:defRPr sz="2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Sous-titre et/ou nom du client</a:t>
            </a:r>
          </a:p>
        </p:txBody>
      </p:sp>
      <p:sp>
        <p:nvSpPr>
          <p:cNvPr id="11" name="object 4">
            <a:extLst>
              <a:ext uri="{FF2B5EF4-FFF2-40B4-BE49-F238E27FC236}">
                <a16:creationId xmlns:a16="http://schemas.microsoft.com/office/drawing/2014/main" id="{D5AE9ADF-F342-9D40-BF70-0264EB47A8B6}"/>
              </a:ext>
            </a:extLst>
          </p:cNvPr>
          <p:cNvSpPr/>
          <p:nvPr userDrawn="1"/>
        </p:nvSpPr>
        <p:spPr>
          <a:xfrm>
            <a:off x="540000" y="932606"/>
            <a:ext cx="11113770" cy="0"/>
          </a:xfrm>
          <a:custGeom>
            <a:avLst/>
            <a:gdLst/>
            <a:ahLst/>
            <a:cxnLst/>
            <a:rect l="l" t="t" r="r" b="b"/>
            <a:pathLst>
              <a:path w="11113770">
                <a:moveTo>
                  <a:pt x="0" y="0"/>
                </a:moveTo>
                <a:lnTo>
                  <a:pt x="11113198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5">
            <a:extLst>
              <a:ext uri="{FF2B5EF4-FFF2-40B4-BE49-F238E27FC236}">
                <a16:creationId xmlns:a16="http://schemas.microsoft.com/office/drawing/2014/main" id="{A27F632C-5BA6-AA4E-9795-088679B087ED}"/>
              </a:ext>
            </a:extLst>
          </p:cNvPr>
          <p:cNvSpPr/>
          <p:nvPr userDrawn="1"/>
        </p:nvSpPr>
        <p:spPr>
          <a:xfrm>
            <a:off x="11279734" y="529907"/>
            <a:ext cx="373227" cy="276660"/>
          </a:xfrm>
          <a:custGeom>
            <a:avLst/>
            <a:gdLst/>
            <a:ahLst/>
            <a:cxnLst/>
            <a:rect l="l" t="t" r="r" b="b"/>
            <a:pathLst>
              <a:path w="3943985" h="2923540">
                <a:moveTo>
                  <a:pt x="3233102" y="723531"/>
                </a:moveTo>
                <a:lnTo>
                  <a:pt x="3207880" y="682091"/>
                </a:lnTo>
                <a:lnTo>
                  <a:pt x="3181324" y="641578"/>
                </a:lnTo>
                <a:lnTo>
                  <a:pt x="3153499" y="602018"/>
                </a:lnTo>
                <a:lnTo>
                  <a:pt x="3124403" y="563422"/>
                </a:lnTo>
                <a:lnTo>
                  <a:pt x="3094075" y="525830"/>
                </a:lnTo>
                <a:lnTo>
                  <a:pt x="3062554" y="489280"/>
                </a:lnTo>
                <a:lnTo>
                  <a:pt x="3029864" y="453809"/>
                </a:lnTo>
                <a:lnTo>
                  <a:pt x="2996031" y="419417"/>
                </a:lnTo>
                <a:lnTo>
                  <a:pt x="2961094" y="386156"/>
                </a:lnTo>
                <a:lnTo>
                  <a:pt x="2925064" y="354050"/>
                </a:lnTo>
                <a:lnTo>
                  <a:pt x="2887992" y="323126"/>
                </a:lnTo>
                <a:lnTo>
                  <a:pt x="2849905" y="293433"/>
                </a:lnTo>
                <a:lnTo>
                  <a:pt x="2810814" y="264972"/>
                </a:lnTo>
                <a:lnTo>
                  <a:pt x="2770771" y="237794"/>
                </a:lnTo>
                <a:lnTo>
                  <a:pt x="2729788" y="211912"/>
                </a:lnTo>
                <a:lnTo>
                  <a:pt x="2687904" y="187375"/>
                </a:lnTo>
                <a:lnTo>
                  <a:pt x="2645156" y="164211"/>
                </a:lnTo>
                <a:lnTo>
                  <a:pt x="2601557" y="142430"/>
                </a:lnTo>
                <a:lnTo>
                  <a:pt x="2557157" y="122085"/>
                </a:lnTo>
                <a:lnTo>
                  <a:pt x="2511971" y="103187"/>
                </a:lnTo>
                <a:lnTo>
                  <a:pt x="2466022" y="85775"/>
                </a:lnTo>
                <a:lnTo>
                  <a:pt x="2419350" y="69875"/>
                </a:lnTo>
                <a:lnTo>
                  <a:pt x="2371991" y="55537"/>
                </a:lnTo>
                <a:lnTo>
                  <a:pt x="2323973" y="42760"/>
                </a:lnTo>
                <a:lnTo>
                  <a:pt x="2275306" y="31597"/>
                </a:lnTo>
                <a:lnTo>
                  <a:pt x="2226056" y="22059"/>
                </a:lnTo>
                <a:lnTo>
                  <a:pt x="2176208" y="14198"/>
                </a:lnTo>
                <a:lnTo>
                  <a:pt x="2125827" y="8026"/>
                </a:lnTo>
                <a:lnTo>
                  <a:pt x="2074938" y="3581"/>
                </a:lnTo>
                <a:lnTo>
                  <a:pt x="2023554" y="901"/>
                </a:lnTo>
                <a:lnTo>
                  <a:pt x="1971713" y="0"/>
                </a:lnTo>
                <a:lnTo>
                  <a:pt x="1921725" y="838"/>
                </a:lnTo>
                <a:lnTo>
                  <a:pt x="1872157" y="3340"/>
                </a:lnTo>
                <a:lnTo>
                  <a:pt x="1823034" y="7467"/>
                </a:lnTo>
                <a:lnTo>
                  <a:pt x="1774393" y="13208"/>
                </a:lnTo>
                <a:lnTo>
                  <a:pt x="1726247" y="20523"/>
                </a:lnTo>
                <a:lnTo>
                  <a:pt x="1678635" y="29400"/>
                </a:lnTo>
                <a:lnTo>
                  <a:pt x="1631569" y="39789"/>
                </a:lnTo>
                <a:lnTo>
                  <a:pt x="1585099" y="51689"/>
                </a:lnTo>
                <a:lnTo>
                  <a:pt x="1539227" y="65062"/>
                </a:lnTo>
                <a:lnTo>
                  <a:pt x="1493989" y="79870"/>
                </a:lnTo>
                <a:lnTo>
                  <a:pt x="1449425" y="96100"/>
                </a:lnTo>
                <a:lnTo>
                  <a:pt x="1405534" y="113728"/>
                </a:lnTo>
                <a:lnTo>
                  <a:pt x="1362367" y="132715"/>
                </a:lnTo>
                <a:lnTo>
                  <a:pt x="1319949" y="153047"/>
                </a:lnTo>
                <a:lnTo>
                  <a:pt x="1278293" y="174688"/>
                </a:lnTo>
                <a:lnTo>
                  <a:pt x="1237437" y="197612"/>
                </a:lnTo>
                <a:lnTo>
                  <a:pt x="1197394" y="221792"/>
                </a:lnTo>
                <a:lnTo>
                  <a:pt x="1158214" y="247218"/>
                </a:lnTo>
                <a:lnTo>
                  <a:pt x="1119898" y="273837"/>
                </a:lnTo>
                <a:lnTo>
                  <a:pt x="1082497" y="301625"/>
                </a:lnTo>
                <a:lnTo>
                  <a:pt x="1046022" y="330581"/>
                </a:lnTo>
                <a:lnTo>
                  <a:pt x="1010500" y="360641"/>
                </a:lnTo>
                <a:lnTo>
                  <a:pt x="975956" y="391820"/>
                </a:lnTo>
                <a:lnTo>
                  <a:pt x="942428" y="424053"/>
                </a:lnTo>
                <a:lnTo>
                  <a:pt x="909942" y="457339"/>
                </a:lnTo>
                <a:lnTo>
                  <a:pt x="878509" y="491629"/>
                </a:lnTo>
                <a:lnTo>
                  <a:pt x="848182" y="526923"/>
                </a:lnTo>
                <a:lnTo>
                  <a:pt x="818959" y="563181"/>
                </a:lnTo>
                <a:lnTo>
                  <a:pt x="790879" y="600367"/>
                </a:lnTo>
                <a:lnTo>
                  <a:pt x="763981" y="638467"/>
                </a:lnTo>
                <a:lnTo>
                  <a:pt x="738263" y="677443"/>
                </a:lnTo>
                <a:lnTo>
                  <a:pt x="713790" y="717283"/>
                </a:lnTo>
                <a:lnTo>
                  <a:pt x="690549" y="757948"/>
                </a:lnTo>
                <a:lnTo>
                  <a:pt x="668604" y="799414"/>
                </a:lnTo>
                <a:lnTo>
                  <a:pt x="647941" y="841654"/>
                </a:lnTo>
                <a:lnTo>
                  <a:pt x="628624" y="884643"/>
                </a:lnTo>
                <a:lnTo>
                  <a:pt x="610666" y="928370"/>
                </a:lnTo>
                <a:lnTo>
                  <a:pt x="594093" y="972769"/>
                </a:lnTo>
                <a:lnTo>
                  <a:pt x="578929" y="1017854"/>
                </a:lnTo>
                <a:lnTo>
                  <a:pt x="565200" y="1063574"/>
                </a:lnTo>
                <a:lnTo>
                  <a:pt x="552932" y="1109903"/>
                </a:lnTo>
                <a:lnTo>
                  <a:pt x="542163" y="1156830"/>
                </a:lnTo>
                <a:lnTo>
                  <a:pt x="0" y="1386954"/>
                </a:lnTo>
                <a:lnTo>
                  <a:pt x="0" y="2095906"/>
                </a:lnTo>
                <a:lnTo>
                  <a:pt x="1146073" y="1609420"/>
                </a:lnTo>
                <a:lnTo>
                  <a:pt x="1140396" y="1573161"/>
                </a:lnTo>
                <a:lnTo>
                  <a:pt x="1136243" y="1536433"/>
                </a:lnTo>
                <a:lnTo>
                  <a:pt x="1133690" y="1499247"/>
                </a:lnTo>
                <a:lnTo>
                  <a:pt x="1132814" y="1461617"/>
                </a:lnTo>
                <a:lnTo>
                  <a:pt x="1134148" y="1414005"/>
                </a:lnTo>
                <a:lnTo>
                  <a:pt x="1138085" y="1367104"/>
                </a:lnTo>
                <a:lnTo>
                  <a:pt x="1144549" y="1320965"/>
                </a:lnTo>
                <a:lnTo>
                  <a:pt x="1153502" y="1275664"/>
                </a:lnTo>
                <a:lnTo>
                  <a:pt x="1164831" y="1231265"/>
                </a:lnTo>
                <a:lnTo>
                  <a:pt x="1178496" y="1187856"/>
                </a:lnTo>
                <a:lnTo>
                  <a:pt x="1194422" y="1145489"/>
                </a:lnTo>
                <a:lnTo>
                  <a:pt x="1212519" y="1104252"/>
                </a:lnTo>
                <a:lnTo>
                  <a:pt x="1232738" y="1064196"/>
                </a:lnTo>
                <a:lnTo>
                  <a:pt x="1254988" y="1025423"/>
                </a:lnTo>
                <a:lnTo>
                  <a:pt x="1279220" y="987971"/>
                </a:lnTo>
                <a:lnTo>
                  <a:pt x="1305356" y="951915"/>
                </a:lnTo>
                <a:lnTo>
                  <a:pt x="1333309" y="917346"/>
                </a:lnTo>
                <a:lnTo>
                  <a:pt x="1363027" y="884326"/>
                </a:lnTo>
                <a:lnTo>
                  <a:pt x="1394434" y="852919"/>
                </a:lnTo>
                <a:lnTo>
                  <a:pt x="1427454" y="823201"/>
                </a:lnTo>
                <a:lnTo>
                  <a:pt x="1462024" y="795248"/>
                </a:lnTo>
                <a:lnTo>
                  <a:pt x="1498079" y="769112"/>
                </a:lnTo>
                <a:lnTo>
                  <a:pt x="1535518" y="744893"/>
                </a:lnTo>
                <a:lnTo>
                  <a:pt x="1574304" y="722630"/>
                </a:lnTo>
                <a:lnTo>
                  <a:pt x="1614360" y="702411"/>
                </a:lnTo>
                <a:lnTo>
                  <a:pt x="1655597" y="684314"/>
                </a:lnTo>
                <a:lnTo>
                  <a:pt x="1697951" y="668401"/>
                </a:lnTo>
                <a:lnTo>
                  <a:pt x="1741373" y="654735"/>
                </a:lnTo>
                <a:lnTo>
                  <a:pt x="1785759" y="643394"/>
                </a:lnTo>
                <a:lnTo>
                  <a:pt x="1831060" y="634453"/>
                </a:lnTo>
                <a:lnTo>
                  <a:pt x="1877199" y="627976"/>
                </a:lnTo>
                <a:lnTo>
                  <a:pt x="1924113" y="624039"/>
                </a:lnTo>
                <a:lnTo>
                  <a:pt x="1971713" y="622719"/>
                </a:lnTo>
                <a:lnTo>
                  <a:pt x="2023783" y="624306"/>
                </a:lnTo>
                <a:lnTo>
                  <a:pt x="2075002" y="629018"/>
                </a:lnTo>
                <a:lnTo>
                  <a:pt x="2125281" y="636752"/>
                </a:lnTo>
                <a:lnTo>
                  <a:pt x="2174532" y="647420"/>
                </a:lnTo>
                <a:lnTo>
                  <a:pt x="2222665" y="660933"/>
                </a:lnTo>
                <a:lnTo>
                  <a:pt x="2269579" y="677202"/>
                </a:lnTo>
                <a:lnTo>
                  <a:pt x="2315184" y="696112"/>
                </a:lnTo>
                <a:lnTo>
                  <a:pt x="2359393" y="717588"/>
                </a:lnTo>
                <a:lnTo>
                  <a:pt x="2402103" y="741527"/>
                </a:lnTo>
                <a:lnTo>
                  <a:pt x="2443238" y="767842"/>
                </a:lnTo>
                <a:lnTo>
                  <a:pt x="2482685" y="796442"/>
                </a:lnTo>
                <a:lnTo>
                  <a:pt x="2520365" y="827227"/>
                </a:lnTo>
                <a:lnTo>
                  <a:pt x="2556179" y="860107"/>
                </a:lnTo>
                <a:lnTo>
                  <a:pt x="2590050" y="894981"/>
                </a:lnTo>
                <a:lnTo>
                  <a:pt x="2621864" y="931773"/>
                </a:lnTo>
                <a:lnTo>
                  <a:pt x="2651544" y="970381"/>
                </a:lnTo>
                <a:lnTo>
                  <a:pt x="3233102" y="723531"/>
                </a:lnTo>
                <a:close/>
              </a:path>
              <a:path w="3943985" h="2923540">
                <a:moveTo>
                  <a:pt x="3943426" y="827303"/>
                </a:moveTo>
                <a:lnTo>
                  <a:pt x="2797352" y="1313776"/>
                </a:lnTo>
                <a:lnTo>
                  <a:pt x="2803029" y="1350035"/>
                </a:lnTo>
                <a:lnTo>
                  <a:pt x="2807182" y="1386776"/>
                </a:lnTo>
                <a:lnTo>
                  <a:pt x="2809735" y="1423962"/>
                </a:lnTo>
                <a:lnTo>
                  <a:pt x="2810599" y="1461604"/>
                </a:lnTo>
                <a:lnTo>
                  <a:pt x="2809265" y="1509217"/>
                </a:lnTo>
                <a:lnTo>
                  <a:pt x="2805328" y="1556118"/>
                </a:lnTo>
                <a:lnTo>
                  <a:pt x="2798864" y="1602257"/>
                </a:lnTo>
                <a:lnTo>
                  <a:pt x="2789910" y="1647558"/>
                </a:lnTo>
                <a:lnTo>
                  <a:pt x="2778582" y="1691944"/>
                </a:lnTo>
                <a:lnTo>
                  <a:pt x="2764917" y="1735353"/>
                </a:lnTo>
                <a:lnTo>
                  <a:pt x="2749004" y="1777720"/>
                </a:lnTo>
                <a:lnTo>
                  <a:pt x="2730893" y="1818957"/>
                </a:lnTo>
                <a:lnTo>
                  <a:pt x="2710675" y="1859000"/>
                </a:lnTo>
                <a:lnTo>
                  <a:pt x="2688425" y="1897786"/>
                </a:lnTo>
                <a:lnTo>
                  <a:pt x="2664193" y="1935238"/>
                </a:lnTo>
                <a:lnTo>
                  <a:pt x="2638069" y="1971281"/>
                </a:lnTo>
                <a:lnTo>
                  <a:pt x="2610104" y="2005850"/>
                </a:lnTo>
                <a:lnTo>
                  <a:pt x="2580386" y="2038870"/>
                </a:lnTo>
                <a:lnTo>
                  <a:pt x="2548991" y="2070277"/>
                </a:lnTo>
                <a:lnTo>
                  <a:pt x="2515959" y="2099995"/>
                </a:lnTo>
                <a:lnTo>
                  <a:pt x="2481389" y="2127948"/>
                </a:lnTo>
                <a:lnTo>
                  <a:pt x="2445347" y="2154085"/>
                </a:lnTo>
                <a:lnTo>
                  <a:pt x="2407894" y="2178304"/>
                </a:lnTo>
                <a:lnTo>
                  <a:pt x="2369108" y="2200567"/>
                </a:lnTo>
                <a:lnTo>
                  <a:pt x="2329065" y="2220785"/>
                </a:lnTo>
                <a:lnTo>
                  <a:pt x="2287828" y="2238883"/>
                </a:lnTo>
                <a:lnTo>
                  <a:pt x="2245461" y="2254796"/>
                </a:lnTo>
                <a:lnTo>
                  <a:pt x="2202053" y="2268461"/>
                </a:lnTo>
                <a:lnTo>
                  <a:pt x="2157666" y="2279802"/>
                </a:lnTo>
                <a:lnTo>
                  <a:pt x="2112365" y="2288743"/>
                </a:lnTo>
                <a:lnTo>
                  <a:pt x="2066226" y="2295220"/>
                </a:lnTo>
                <a:lnTo>
                  <a:pt x="2019312" y="2299157"/>
                </a:lnTo>
                <a:lnTo>
                  <a:pt x="1971713" y="2300478"/>
                </a:lnTo>
                <a:lnTo>
                  <a:pt x="1919643" y="2298890"/>
                </a:lnTo>
                <a:lnTo>
                  <a:pt x="1868424" y="2294178"/>
                </a:lnTo>
                <a:lnTo>
                  <a:pt x="1818132" y="2286444"/>
                </a:lnTo>
                <a:lnTo>
                  <a:pt x="1768881" y="2275776"/>
                </a:lnTo>
                <a:lnTo>
                  <a:pt x="1720748" y="2262263"/>
                </a:lnTo>
                <a:lnTo>
                  <a:pt x="1673834" y="2245995"/>
                </a:lnTo>
                <a:lnTo>
                  <a:pt x="1628228" y="2227084"/>
                </a:lnTo>
                <a:lnTo>
                  <a:pt x="1584020" y="2205609"/>
                </a:lnTo>
                <a:lnTo>
                  <a:pt x="1541310" y="2181669"/>
                </a:lnTo>
                <a:lnTo>
                  <a:pt x="1500174" y="2155355"/>
                </a:lnTo>
                <a:lnTo>
                  <a:pt x="1460728" y="2126754"/>
                </a:lnTo>
                <a:lnTo>
                  <a:pt x="1423047" y="2095969"/>
                </a:lnTo>
                <a:lnTo>
                  <a:pt x="1387233" y="2063089"/>
                </a:lnTo>
                <a:lnTo>
                  <a:pt x="1353362" y="2028215"/>
                </a:lnTo>
                <a:lnTo>
                  <a:pt x="1321549" y="1991423"/>
                </a:lnTo>
                <a:lnTo>
                  <a:pt x="1291869" y="1952815"/>
                </a:lnTo>
                <a:lnTo>
                  <a:pt x="710323" y="2199678"/>
                </a:lnTo>
                <a:lnTo>
                  <a:pt x="735545" y="2241105"/>
                </a:lnTo>
                <a:lnTo>
                  <a:pt x="762088" y="2281631"/>
                </a:lnTo>
                <a:lnTo>
                  <a:pt x="789927" y="2321191"/>
                </a:lnTo>
                <a:lnTo>
                  <a:pt x="819023" y="2359787"/>
                </a:lnTo>
                <a:lnTo>
                  <a:pt x="849337" y="2397366"/>
                </a:lnTo>
                <a:lnTo>
                  <a:pt x="880859" y="2433917"/>
                </a:lnTo>
                <a:lnTo>
                  <a:pt x="913561" y="2469400"/>
                </a:lnTo>
                <a:lnTo>
                  <a:pt x="947394" y="2503792"/>
                </a:lnTo>
                <a:lnTo>
                  <a:pt x="982332" y="2537041"/>
                </a:lnTo>
                <a:lnTo>
                  <a:pt x="1018349" y="2569146"/>
                </a:lnTo>
                <a:lnTo>
                  <a:pt x="1055420" y="2600071"/>
                </a:lnTo>
                <a:lnTo>
                  <a:pt x="1093520" y="2629776"/>
                </a:lnTo>
                <a:lnTo>
                  <a:pt x="1132611" y="2658224"/>
                </a:lnTo>
                <a:lnTo>
                  <a:pt x="1172654" y="2685402"/>
                </a:lnTo>
                <a:lnTo>
                  <a:pt x="1213637" y="2711285"/>
                </a:lnTo>
                <a:lnTo>
                  <a:pt x="1255509" y="2735821"/>
                </a:lnTo>
                <a:lnTo>
                  <a:pt x="1298270" y="2758986"/>
                </a:lnTo>
                <a:lnTo>
                  <a:pt x="1341856" y="2780766"/>
                </a:lnTo>
                <a:lnTo>
                  <a:pt x="1386268" y="2801124"/>
                </a:lnTo>
                <a:lnTo>
                  <a:pt x="1431455" y="2820009"/>
                </a:lnTo>
                <a:lnTo>
                  <a:pt x="1477403" y="2837421"/>
                </a:lnTo>
                <a:lnTo>
                  <a:pt x="1524063" y="2853321"/>
                </a:lnTo>
                <a:lnTo>
                  <a:pt x="1571434" y="2867660"/>
                </a:lnTo>
                <a:lnTo>
                  <a:pt x="1619453" y="2880436"/>
                </a:lnTo>
                <a:lnTo>
                  <a:pt x="1668106" y="2891599"/>
                </a:lnTo>
                <a:lnTo>
                  <a:pt x="1717370" y="2901137"/>
                </a:lnTo>
                <a:lnTo>
                  <a:pt x="1767217" y="2908998"/>
                </a:lnTo>
                <a:lnTo>
                  <a:pt x="1817598" y="2915170"/>
                </a:lnTo>
                <a:lnTo>
                  <a:pt x="1868487" y="2919615"/>
                </a:lnTo>
                <a:lnTo>
                  <a:pt x="1919871" y="2922295"/>
                </a:lnTo>
                <a:lnTo>
                  <a:pt x="1971713" y="2923197"/>
                </a:lnTo>
                <a:lnTo>
                  <a:pt x="2021674" y="2922359"/>
                </a:lnTo>
                <a:lnTo>
                  <a:pt x="2071204" y="2919869"/>
                </a:lnTo>
                <a:lnTo>
                  <a:pt x="2120303" y="2915742"/>
                </a:lnTo>
                <a:lnTo>
                  <a:pt x="2168918" y="2910001"/>
                </a:lnTo>
                <a:lnTo>
                  <a:pt x="2217039" y="2902699"/>
                </a:lnTo>
                <a:lnTo>
                  <a:pt x="2264626" y="2893834"/>
                </a:lnTo>
                <a:lnTo>
                  <a:pt x="2311654" y="2883446"/>
                </a:lnTo>
                <a:lnTo>
                  <a:pt x="2358110" y="2871571"/>
                </a:lnTo>
                <a:lnTo>
                  <a:pt x="2403957" y="2858211"/>
                </a:lnTo>
                <a:lnTo>
                  <a:pt x="2449157" y="2843415"/>
                </a:lnTo>
                <a:lnTo>
                  <a:pt x="2493708" y="2827197"/>
                </a:lnTo>
                <a:lnTo>
                  <a:pt x="2537574" y="2809595"/>
                </a:lnTo>
                <a:lnTo>
                  <a:pt x="2580716" y="2790621"/>
                </a:lnTo>
                <a:lnTo>
                  <a:pt x="2623121" y="2770314"/>
                </a:lnTo>
                <a:lnTo>
                  <a:pt x="2664764" y="2748699"/>
                </a:lnTo>
                <a:lnTo>
                  <a:pt x="2705595" y="2725801"/>
                </a:lnTo>
                <a:lnTo>
                  <a:pt x="2745625" y="2701645"/>
                </a:lnTo>
                <a:lnTo>
                  <a:pt x="2784792" y="2676258"/>
                </a:lnTo>
                <a:lnTo>
                  <a:pt x="2823095" y="2649664"/>
                </a:lnTo>
                <a:lnTo>
                  <a:pt x="2860484" y="2621902"/>
                </a:lnTo>
                <a:lnTo>
                  <a:pt x="2896946" y="2592984"/>
                </a:lnTo>
                <a:lnTo>
                  <a:pt x="2932468" y="2562949"/>
                </a:lnTo>
                <a:lnTo>
                  <a:pt x="2966986" y="2531808"/>
                </a:lnTo>
                <a:lnTo>
                  <a:pt x="3000514" y="2499601"/>
                </a:lnTo>
                <a:lnTo>
                  <a:pt x="3033001" y="2466352"/>
                </a:lnTo>
                <a:lnTo>
                  <a:pt x="3064421" y="2432100"/>
                </a:lnTo>
                <a:lnTo>
                  <a:pt x="3094761" y="2396845"/>
                </a:lnTo>
                <a:lnTo>
                  <a:pt x="3123984" y="2360625"/>
                </a:lnTo>
                <a:lnTo>
                  <a:pt x="3152063" y="2323477"/>
                </a:lnTo>
                <a:lnTo>
                  <a:pt x="3178962" y="2285415"/>
                </a:lnTo>
                <a:lnTo>
                  <a:pt x="3204680" y="2246477"/>
                </a:lnTo>
                <a:lnTo>
                  <a:pt x="3229178" y="2206675"/>
                </a:lnTo>
                <a:lnTo>
                  <a:pt x="3252419" y="2166048"/>
                </a:lnTo>
                <a:lnTo>
                  <a:pt x="3274377" y="2124621"/>
                </a:lnTo>
                <a:lnTo>
                  <a:pt x="3295053" y="2082419"/>
                </a:lnTo>
                <a:lnTo>
                  <a:pt x="3314382" y="2039467"/>
                </a:lnTo>
                <a:lnTo>
                  <a:pt x="3332365" y="1995792"/>
                </a:lnTo>
                <a:lnTo>
                  <a:pt x="3348964" y="1951431"/>
                </a:lnTo>
                <a:lnTo>
                  <a:pt x="3364153" y="1906384"/>
                </a:lnTo>
                <a:lnTo>
                  <a:pt x="3377908" y="1860715"/>
                </a:lnTo>
                <a:lnTo>
                  <a:pt x="3390188" y="1814423"/>
                </a:lnTo>
                <a:lnTo>
                  <a:pt x="3400996" y="1767535"/>
                </a:lnTo>
                <a:lnTo>
                  <a:pt x="3943426" y="1537271"/>
                </a:lnTo>
                <a:lnTo>
                  <a:pt x="3943426" y="82730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57079574-FB4D-AC45-B732-F706204933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5396" y="529907"/>
            <a:ext cx="1218640" cy="204443"/>
          </a:xfrm>
          <a:prstGeom prst="rect">
            <a:avLst/>
          </a:prstGeom>
        </p:spPr>
      </p:pic>
      <p:sp>
        <p:nvSpPr>
          <p:cNvPr id="14" name="object 3">
            <a:extLst>
              <a:ext uri="{FF2B5EF4-FFF2-40B4-BE49-F238E27FC236}">
                <a16:creationId xmlns:a16="http://schemas.microsoft.com/office/drawing/2014/main" id="{6DC42EB9-E334-A242-B22A-3D3912248CDE}"/>
              </a:ext>
            </a:extLst>
          </p:cNvPr>
          <p:cNvSpPr/>
          <p:nvPr userDrawn="1"/>
        </p:nvSpPr>
        <p:spPr>
          <a:xfrm>
            <a:off x="540000" y="5354996"/>
            <a:ext cx="11113770" cy="0"/>
          </a:xfrm>
          <a:custGeom>
            <a:avLst/>
            <a:gdLst/>
            <a:ahLst/>
            <a:cxnLst/>
            <a:rect l="l" t="t" r="r" b="b"/>
            <a:pathLst>
              <a:path w="11113770">
                <a:moveTo>
                  <a:pt x="0" y="0"/>
                </a:moveTo>
                <a:lnTo>
                  <a:pt x="11113198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5BCA094-6333-8442-AF15-469747FDD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5396" y="5572124"/>
            <a:ext cx="2536825" cy="961410"/>
          </a:xfr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600" b="0">
                <a:latin typeface="Century Gothic" panose="020B0502020202020204" pitchFamily="34" charset="0"/>
              </a:defRPr>
            </a:lvl2pPr>
            <a:lvl3pPr>
              <a:defRPr sz="1600" b="0">
                <a:latin typeface="Century Gothic" panose="020B0502020202020204" pitchFamily="34" charset="0"/>
              </a:defRPr>
            </a:lvl3pPr>
            <a:lvl4pPr>
              <a:defRPr sz="1600" b="0">
                <a:latin typeface="Century Gothic" panose="020B0502020202020204" pitchFamily="34" charset="0"/>
              </a:defRPr>
            </a:lvl4pPr>
            <a:lvl5pPr>
              <a:defRPr sz="1600" b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/>
              <a:t>Prénom Nom Personne 1</a:t>
            </a:r>
          </a:p>
          <a:p>
            <a:pPr lvl="0"/>
            <a:r>
              <a:rPr lang="fr-FR"/>
              <a:t>Prénom Nom Personne 2</a:t>
            </a:r>
          </a:p>
          <a:p>
            <a:pPr lvl="0"/>
            <a:r>
              <a:rPr lang="fr-FR"/>
              <a:t>Prénom Nom Personne 3</a:t>
            </a:r>
          </a:p>
          <a:p>
            <a:pPr lvl="0"/>
            <a:r>
              <a:rPr lang="fr-FR"/>
              <a:t>Prénom Nom Personne 4</a:t>
            </a:r>
          </a:p>
        </p:txBody>
      </p:sp>
      <p:sp>
        <p:nvSpPr>
          <p:cNvPr id="17" name="Espace réservé du texte 3">
            <a:extLst>
              <a:ext uri="{FF2B5EF4-FFF2-40B4-BE49-F238E27FC236}">
                <a16:creationId xmlns:a16="http://schemas.microsoft.com/office/drawing/2014/main" id="{D19F14FB-20D9-D345-B1A3-CE453E122B5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2623" y="5572123"/>
            <a:ext cx="5380338" cy="9614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600" b="0">
                <a:latin typeface="Century Gothic" panose="020B0502020202020204" pitchFamily="34" charset="0"/>
              </a:defRPr>
            </a:lvl2pPr>
            <a:lvl3pPr>
              <a:defRPr sz="1600" b="0">
                <a:latin typeface="Century Gothic" panose="020B0502020202020204" pitchFamily="34" charset="0"/>
              </a:defRPr>
            </a:lvl3pPr>
            <a:lvl4pPr>
              <a:defRPr sz="1600" b="0">
                <a:latin typeface="Century Gothic" panose="020B0502020202020204" pitchFamily="34" charset="0"/>
              </a:defRPr>
            </a:lvl4pPr>
            <a:lvl5pPr>
              <a:defRPr sz="1600" b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/>
              <a:t>personne1@carbone4.com | numéro tél.</a:t>
            </a:r>
          </a:p>
          <a:p>
            <a:pPr lvl="0"/>
            <a:r>
              <a:rPr lang="fr-FR"/>
              <a:t>personne2@carbone4.com | numéro tél.</a:t>
            </a:r>
            <a:br>
              <a:rPr lang="fr-FR"/>
            </a:br>
            <a:r>
              <a:rPr lang="fr-FR"/>
              <a:t>personne3@carbone4.com | numéro tél.</a:t>
            </a:r>
          </a:p>
          <a:p>
            <a:pPr lvl="0"/>
            <a:r>
              <a:rPr lang="fr-FR"/>
              <a:t>personne4@carbone4.com | numéro tél.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F4D2FB57-A41E-C84B-A681-EFFE70CC3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49201" y="5572124"/>
            <a:ext cx="2876038" cy="9614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600" b="0">
                <a:latin typeface="Century Gothic" panose="020B0502020202020204" pitchFamily="34" charset="0"/>
              </a:defRPr>
            </a:lvl2pPr>
            <a:lvl3pPr>
              <a:defRPr sz="1600" b="0">
                <a:latin typeface="Century Gothic" panose="020B0502020202020204" pitchFamily="34" charset="0"/>
              </a:defRPr>
            </a:lvl3pPr>
            <a:lvl4pPr>
              <a:defRPr sz="1600" b="0">
                <a:latin typeface="Century Gothic" panose="020B0502020202020204" pitchFamily="34" charset="0"/>
              </a:defRPr>
            </a:lvl4pPr>
            <a:lvl5pPr>
              <a:defRPr sz="1600" b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/>
              <a:t>Grade/poste Personne 1</a:t>
            </a:r>
          </a:p>
          <a:p>
            <a:pPr lvl="0"/>
            <a:r>
              <a:rPr lang="fr-FR"/>
              <a:t>Grade/poste Personne 2</a:t>
            </a:r>
          </a:p>
          <a:p>
            <a:pPr lvl="0"/>
            <a:r>
              <a:rPr lang="fr-FR"/>
              <a:t>Grade/poste Personne 3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Grade/poste Personne 4</a:t>
            </a:r>
          </a:p>
        </p:txBody>
      </p:sp>
    </p:spTree>
    <p:extLst>
      <p:ext uri="{BB962C8B-B14F-4D97-AF65-F5344CB8AC3E}">
        <p14:creationId xmlns:p14="http://schemas.microsoft.com/office/powerpoint/2010/main" val="34704818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. COUVERTURE-visuel-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4">
            <a:extLst>
              <a:ext uri="{FF2B5EF4-FFF2-40B4-BE49-F238E27FC236}">
                <a16:creationId xmlns:a16="http://schemas.microsoft.com/office/drawing/2014/main" id="{48A29799-B3C5-684E-A4CD-16D40213DE53}"/>
              </a:ext>
            </a:extLst>
          </p:cNvPr>
          <p:cNvSpPr/>
          <p:nvPr userDrawn="1"/>
        </p:nvSpPr>
        <p:spPr>
          <a:xfrm flipV="1">
            <a:off x="540000" y="886887"/>
            <a:ext cx="6812488" cy="45719"/>
          </a:xfrm>
          <a:custGeom>
            <a:avLst/>
            <a:gdLst/>
            <a:ahLst/>
            <a:cxnLst/>
            <a:rect l="l" t="t" r="r" b="b"/>
            <a:pathLst>
              <a:path w="11113770">
                <a:moveTo>
                  <a:pt x="0" y="0"/>
                </a:moveTo>
                <a:lnTo>
                  <a:pt x="11113198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" name="object 5">
            <a:extLst>
              <a:ext uri="{FF2B5EF4-FFF2-40B4-BE49-F238E27FC236}">
                <a16:creationId xmlns:a16="http://schemas.microsoft.com/office/drawing/2014/main" id="{A99A6671-F8DB-2441-9B04-05C2A7CD941E}"/>
              </a:ext>
            </a:extLst>
          </p:cNvPr>
          <p:cNvSpPr/>
          <p:nvPr userDrawn="1"/>
        </p:nvSpPr>
        <p:spPr>
          <a:xfrm>
            <a:off x="6979261" y="529907"/>
            <a:ext cx="373227" cy="276660"/>
          </a:xfrm>
          <a:custGeom>
            <a:avLst/>
            <a:gdLst/>
            <a:ahLst/>
            <a:cxnLst/>
            <a:rect l="l" t="t" r="r" b="b"/>
            <a:pathLst>
              <a:path w="3943985" h="2923540">
                <a:moveTo>
                  <a:pt x="3233102" y="723531"/>
                </a:moveTo>
                <a:lnTo>
                  <a:pt x="3207880" y="682091"/>
                </a:lnTo>
                <a:lnTo>
                  <a:pt x="3181324" y="641578"/>
                </a:lnTo>
                <a:lnTo>
                  <a:pt x="3153499" y="602018"/>
                </a:lnTo>
                <a:lnTo>
                  <a:pt x="3124403" y="563422"/>
                </a:lnTo>
                <a:lnTo>
                  <a:pt x="3094075" y="525830"/>
                </a:lnTo>
                <a:lnTo>
                  <a:pt x="3062554" y="489280"/>
                </a:lnTo>
                <a:lnTo>
                  <a:pt x="3029864" y="453809"/>
                </a:lnTo>
                <a:lnTo>
                  <a:pt x="2996031" y="419417"/>
                </a:lnTo>
                <a:lnTo>
                  <a:pt x="2961094" y="386156"/>
                </a:lnTo>
                <a:lnTo>
                  <a:pt x="2925064" y="354050"/>
                </a:lnTo>
                <a:lnTo>
                  <a:pt x="2887992" y="323126"/>
                </a:lnTo>
                <a:lnTo>
                  <a:pt x="2849905" y="293433"/>
                </a:lnTo>
                <a:lnTo>
                  <a:pt x="2810814" y="264972"/>
                </a:lnTo>
                <a:lnTo>
                  <a:pt x="2770771" y="237794"/>
                </a:lnTo>
                <a:lnTo>
                  <a:pt x="2729788" y="211912"/>
                </a:lnTo>
                <a:lnTo>
                  <a:pt x="2687904" y="187375"/>
                </a:lnTo>
                <a:lnTo>
                  <a:pt x="2645156" y="164211"/>
                </a:lnTo>
                <a:lnTo>
                  <a:pt x="2601557" y="142430"/>
                </a:lnTo>
                <a:lnTo>
                  <a:pt x="2557157" y="122085"/>
                </a:lnTo>
                <a:lnTo>
                  <a:pt x="2511971" y="103187"/>
                </a:lnTo>
                <a:lnTo>
                  <a:pt x="2466022" y="85775"/>
                </a:lnTo>
                <a:lnTo>
                  <a:pt x="2419350" y="69875"/>
                </a:lnTo>
                <a:lnTo>
                  <a:pt x="2371991" y="55537"/>
                </a:lnTo>
                <a:lnTo>
                  <a:pt x="2323973" y="42760"/>
                </a:lnTo>
                <a:lnTo>
                  <a:pt x="2275306" y="31597"/>
                </a:lnTo>
                <a:lnTo>
                  <a:pt x="2226056" y="22059"/>
                </a:lnTo>
                <a:lnTo>
                  <a:pt x="2176208" y="14198"/>
                </a:lnTo>
                <a:lnTo>
                  <a:pt x="2125827" y="8026"/>
                </a:lnTo>
                <a:lnTo>
                  <a:pt x="2074938" y="3581"/>
                </a:lnTo>
                <a:lnTo>
                  <a:pt x="2023554" y="901"/>
                </a:lnTo>
                <a:lnTo>
                  <a:pt x="1971713" y="0"/>
                </a:lnTo>
                <a:lnTo>
                  <a:pt x="1921725" y="838"/>
                </a:lnTo>
                <a:lnTo>
                  <a:pt x="1872157" y="3340"/>
                </a:lnTo>
                <a:lnTo>
                  <a:pt x="1823034" y="7467"/>
                </a:lnTo>
                <a:lnTo>
                  <a:pt x="1774393" y="13208"/>
                </a:lnTo>
                <a:lnTo>
                  <a:pt x="1726247" y="20523"/>
                </a:lnTo>
                <a:lnTo>
                  <a:pt x="1678635" y="29400"/>
                </a:lnTo>
                <a:lnTo>
                  <a:pt x="1631569" y="39789"/>
                </a:lnTo>
                <a:lnTo>
                  <a:pt x="1585099" y="51689"/>
                </a:lnTo>
                <a:lnTo>
                  <a:pt x="1539227" y="65062"/>
                </a:lnTo>
                <a:lnTo>
                  <a:pt x="1493989" y="79870"/>
                </a:lnTo>
                <a:lnTo>
                  <a:pt x="1449425" y="96100"/>
                </a:lnTo>
                <a:lnTo>
                  <a:pt x="1405534" y="113728"/>
                </a:lnTo>
                <a:lnTo>
                  <a:pt x="1362367" y="132715"/>
                </a:lnTo>
                <a:lnTo>
                  <a:pt x="1319949" y="153047"/>
                </a:lnTo>
                <a:lnTo>
                  <a:pt x="1278293" y="174688"/>
                </a:lnTo>
                <a:lnTo>
                  <a:pt x="1237437" y="197612"/>
                </a:lnTo>
                <a:lnTo>
                  <a:pt x="1197394" y="221792"/>
                </a:lnTo>
                <a:lnTo>
                  <a:pt x="1158214" y="247218"/>
                </a:lnTo>
                <a:lnTo>
                  <a:pt x="1119898" y="273837"/>
                </a:lnTo>
                <a:lnTo>
                  <a:pt x="1082497" y="301625"/>
                </a:lnTo>
                <a:lnTo>
                  <a:pt x="1046022" y="330581"/>
                </a:lnTo>
                <a:lnTo>
                  <a:pt x="1010500" y="360641"/>
                </a:lnTo>
                <a:lnTo>
                  <a:pt x="975956" y="391820"/>
                </a:lnTo>
                <a:lnTo>
                  <a:pt x="942428" y="424053"/>
                </a:lnTo>
                <a:lnTo>
                  <a:pt x="909942" y="457339"/>
                </a:lnTo>
                <a:lnTo>
                  <a:pt x="878509" y="491629"/>
                </a:lnTo>
                <a:lnTo>
                  <a:pt x="848182" y="526923"/>
                </a:lnTo>
                <a:lnTo>
                  <a:pt x="818959" y="563181"/>
                </a:lnTo>
                <a:lnTo>
                  <a:pt x="790879" y="600367"/>
                </a:lnTo>
                <a:lnTo>
                  <a:pt x="763981" y="638467"/>
                </a:lnTo>
                <a:lnTo>
                  <a:pt x="738263" y="677443"/>
                </a:lnTo>
                <a:lnTo>
                  <a:pt x="713790" y="717283"/>
                </a:lnTo>
                <a:lnTo>
                  <a:pt x="690549" y="757948"/>
                </a:lnTo>
                <a:lnTo>
                  <a:pt x="668604" y="799414"/>
                </a:lnTo>
                <a:lnTo>
                  <a:pt x="647941" y="841654"/>
                </a:lnTo>
                <a:lnTo>
                  <a:pt x="628624" y="884643"/>
                </a:lnTo>
                <a:lnTo>
                  <a:pt x="610666" y="928370"/>
                </a:lnTo>
                <a:lnTo>
                  <a:pt x="594093" y="972769"/>
                </a:lnTo>
                <a:lnTo>
                  <a:pt x="578929" y="1017854"/>
                </a:lnTo>
                <a:lnTo>
                  <a:pt x="565200" y="1063574"/>
                </a:lnTo>
                <a:lnTo>
                  <a:pt x="552932" y="1109903"/>
                </a:lnTo>
                <a:lnTo>
                  <a:pt x="542163" y="1156830"/>
                </a:lnTo>
                <a:lnTo>
                  <a:pt x="0" y="1386954"/>
                </a:lnTo>
                <a:lnTo>
                  <a:pt x="0" y="2095906"/>
                </a:lnTo>
                <a:lnTo>
                  <a:pt x="1146073" y="1609420"/>
                </a:lnTo>
                <a:lnTo>
                  <a:pt x="1140396" y="1573161"/>
                </a:lnTo>
                <a:lnTo>
                  <a:pt x="1136243" y="1536433"/>
                </a:lnTo>
                <a:lnTo>
                  <a:pt x="1133690" y="1499247"/>
                </a:lnTo>
                <a:lnTo>
                  <a:pt x="1132814" y="1461617"/>
                </a:lnTo>
                <a:lnTo>
                  <a:pt x="1134148" y="1414005"/>
                </a:lnTo>
                <a:lnTo>
                  <a:pt x="1138085" y="1367104"/>
                </a:lnTo>
                <a:lnTo>
                  <a:pt x="1144549" y="1320965"/>
                </a:lnTo>
                <a:lnTo>
                  <a:pt x="1153502" y="1275664"/>
                </a:lnTo>
                <a:lnTo>
                  <a:pt x="1164831" y="1231265"/>
                </a:lnTo>
                <a:lnTo>
                  <a:pt x="1178496" y="1187856"/>
                </a:lnTo>
                <a:lnTo>
                  <a:pt x="1194422" y="1145489"/>
                </a:lnTo>
                <a:lnTo>
                  <a:pt x="1212519" y="1104252"/>
                </a:lnTo>
                <a:lnTo>
                  <a:pt x="1232738" y="1064196"/>
                </a:lnTo>
                <a:lnTo>
                  <a:pt x="1254988" y="1025423"/>
                </a:lnTo>
                <a:lnTo>
                  <a:pt x="1279220" y="987971"/>
                </a:lnTo>
                <a:lnTo>
                  <a:pt x="1305356" y="951915"/>
                </a:lnTo>
                <a:lnTo>
                  <a:pt x="1333309" y="917346"/>
                </a:lnTo>
                <a:lnTo>
                  <a:pt x="1363027" y="884326"/>
                </a:lnTo>
                <a:lnTo>
                  <a:pt x="1394434" y="852919"/>
                </a:lnTo>
                <a:lnTo>
                  <a:pt x="1427454" y="823201"/>
                </a:lnTo>
                <a:lnTo>
                  <a:pt x="1462024" y="795248"/>
                </a:lnTo>
                <a:lnTo>
                  <a:pt x="1498079" y="769112"/>
                </a:lnTo>
                <a:lnTo>
                  <a:pt x="1535518" y="744893"/>
                </a:lnTo>
                <a:lnTo>
                  <a:pt x="1574304" y="722630"/>
                </a:lnTo>
                <a:lnTo>
                  <a:pt x="1614360" y="702411"/>
                </a:lnTo>
                <a:lnTo>
                  <a:pt x="1655597" y="684314"/>
                </a:lnTo>
                <a:lnTo>
                  <a:pt x="1697951" y="668401"/>
                </a:lnTo>
                <a:lnTo>
                  <a:pt x="1741373" y="654735"/>
                </a:lnTo>
                <a:lnTo>
                  <a:pt x="1785759" y="643394"/>
                </a:lnTo>
                <a:lnTo>
                  <a:pt x="1831060" y="634453"/>
                </a:lnTo>
                <a:lnTo>
                  <a:pt x="1877199" y="627976"/>
                </a:lnTo>
                <a:lnTo>
                  <a:pt x="1924113" y="624039"/>
                </a:lnTo>
                <a:lnTo>
                  <a:pt x="1971713" y="622719"/>
                </a:lnTo>
                <a:lnTo>
                  <a:pt x="2023783" y="624306"/>
                </a:lnTo>
                <a:lnTo>
                  <a:pt x="2075002" y="629018"/>
                </a:lnTo>
                <a:lnTo>
                  <a:pt x="2125281" y="636752"/>
                </a:lnTo>
                <a:lnTo>
                  <a:pt x="2174532" y="647420"/>
                </a:lnTo>
                <a:lnTo>
                  <a:pt x="2222665" y="660933"/>
                </a:lnTo>
                <a:lnTo>
                  <a:pt x="2269579" y="677202"/>
                </a:lnTo>
                <a:lnTo>
                  <a:pt x="2315184" y="696112"/>
                </a:lnTo>
                <a:lnTo>
                  <a:pt x="2359393" y="717588"/>
                </a:lnTo>
                <a:lnTo>
                  <a:pt x="2402103" y="741527"/>
                </a:lnTo>
                <a:lnTo>
                  <a:pt x="2443238" y="767842"/>
                </a:lnTo>
                <a:lnTo>
                  <a:pt x="2482685" y="796442"/>
                </a:lnTo>
                <a:lnTo>
                  <a:pt x="2520365" y="827227"/>
                </a:lnTo>
                <a:lnTo>
                  <a:pt x="2556179" y="860107"/>
                </a:lnTo>
                <a:lnTo>
                  <a:pt x="2590050" y="894981"/>
                </a:lnTo>
                <a:lnTo>
                  <a:pt x="2621864" y="931773"/>
                </a:lnTo>
                <a:lnTo>
                  <a:pt x="2651544" y="970381"/>
                </a:lnTo>
                <a:lnTo>
                  <a:pt x="3233102" y="723531"/>
                </a:lnTo>
                <a:close/>
              </a:path>
              <a:path w="3943985" h="2923540">
                <a:moveTo>
                  <a:pt x="3943426" y="827303"/>
                </a:moveTo>
                <a:lnTo>
                  <a:pt x="2797352" y="1313776"/>
                </a:lnTo>
                <a:lnTo>
                  <a:pt x="2803029" y="1350035"/>
                </a:lnTo>
                <a:lnTo>
                  <a:pt x="2807182" y="1386776"/>
                </a:lnTo>
                <a:lnTo>
                  <a:pt x="2809735" y="1423962"/>
                </a:lnTo>
                <a:lnTo>
                  <a:pt x="2810599" y="1461604"/>
                </a:lnTo>
                <a:lnTo>
                  <a:pt x="2809265" y="1509217"/>
                </a:lnTo>
                <a:lnTo>
                  <a:pt x="2805328" y="1556118"/>
                </a:lnTo>
                <a:lnTo>
                  <a:pt x="2798864" y="1602257"/>
                </a:lnTo>
                <a:lnTo>
                  <a:pt x="2789910" y="1647558"/>
                </a:lnTo>
                <a:lnTo>
                  <a:pt x="2778582" y="1691944"/>
                </a:lnTo>
                <a:lnTo>
                  <a:pt x="2764917" y="1735353"/>
                </a:lnTo>
                <a:lnTo>
                  <a:pt x="2749004" y="1777720"/>
                </a:lnTo>
                <a:lnTo>
                  <a:pt x="2730893" y="1818957"/>
                </a:lnTo>
                <a:lnTo>
                  <a:pt x="2710675" y="1859000"/>
                </a:lnTo>
                <a:lnTo>
                  <a:pt x="2688425" y="1897786"/>
                </a:lnTo>
                <a:lnTo>
                  <a:pt x="2664193" y="1935238"/>
                </a:lnTo>
                <a:lnTo>
                  <a:pt x="2638069" y="1971281"/>
                </a:lnTo>
                <a:lnTo>
                  <a:pt x="2610104" y="2005850"/>
                </a:lnTo>
                <a:lnTo>
                  <a:pt x="2580386" y="2038870"/>
                </a:lnTo>
                <a:lnTo>
                  <a:pt x="2548991" y="2070277"/>
                </a:lnTo>
                <a:lnTo>
                  <a:pt x="2515959" y="2099995"/>
                </a:lnTo>
                <a:lnTo>
                  <a:pt x="2481389" y="2127948"/>
                </a:lnTo>
                <a:lnTo>
                  <a:pt x="2445347" y="2154085"/>
                </a:lnTo>
                <a:lnTo>
                  <a:pt x="2407894" y="2178304"/>
                </a:lnTo>
                <a:lnTo>
                  <a:pt x="2369108" y="2200567"/>
                </a:lnTo>
                <a:lnTo>
                  <a:pt x="2329065" y="2220785"/>
                </a:lnTo>
                <a:lnTo>
                  <a:pt x="2287828" y="2238883"/>
                </a:lnTo>
                <a:lnTo>
                  <a:pt x="2245461" y="2254796"/>
                </a:lnTo>
                <a:lnTo>
                  <a:pt x="2202053" y="2268461"/>
                </a:lnTo>
                <a:lnTo>
                  <a:pt x="2157666" y="2279802"/>
                </a:lnTo>
                <a:lnTo>
                  <a:pt x="2112365" y="2288743"/>
                </a:lnTo>
                <a:lnTo>
                  <a:pt x="2066226" y="2295220"/>
                </a:lnTo>
                <a:lnTo>
                  <a:pt x="2019312" y="2299157"/>
                </a:lnTo>
                <a:lnTo>
                  <a:pt x="1971713" y="2300478"/>
                </a:lnTo>
                <a:lnTo>
                  <a:pt x="1919643" y="2298890"/>
                </a:lnTo>
                <a:lnTo>
                  <a:pt x="1868424" y="2294178"/>
                </a:lnTo>
                <a:lnTo>
                  <a:pt x="1818132" y="2286444"/>
                </a:lnTo>
                <a:lnTo>
                  <a:pt x="1768881" y="2275776"/>
                </a:lnTo>
                <a:lnTo>
                  <a:pt x="1720748" y="2262263"/>
                </a:lnTo>
                <a:lnTo>
                  <a:pt x="1673834" y="2245995"/>
                </a:lnTo>
                <a:lnTo>
                  <a:pt x="1628228" y="2227084"/>
                </a:lnTo>
                <a:lnTo>
                  <a:pt x="1584020" y="2205609"/>
                </a:lnTo>
                <a:lnTo>
                  <a:pt x="1541310" y="2181669"/>
                </a:lnTo>
                <a:lnTo>
                  <a:pt x="1500174" y="2155355"/>
                </a:lnTo>
                <a:lnTo>
                  <a:pt x="1460728" y="2126754"/>
                </a:lnTo>
                <a:lnTo>
                  <a:pt x="1423047" y="2095969"/>
                </a:lnTo>
                <a:lnTo>
                  <a:pt x="1387233" y="2063089"/>
                </a:lnTo>
                <a:lnTo>
                  <a:pt x="1353362" y="2028215"/>
                </a:lnTo>
                <a:lnTo>
                  <a:pt x="1321549" y="1991423"/>
                </a:lnTo>
                <a:lnTo>
                  <a:pt x="1291869" y="1952815"/>
                </a:lnTo>
                <a:lnTo>
                  <a:pt x="710323" y="2199678"/>
                </a:lnTo>
                <a:lnTo>
                  <a:pt x="735545" y="2241105"/>
                </a:lnTo>
                <a:lnTo>
                  <a:pt x="762088" y="2281631"/>
                </a:lnTo>
                <a:lnTo>
                  <a:pt x="789927" y="2321191"/>
                </a:lnTo>
                <a:lnTo>
                  <a:pt x="819023" y="2359787"/>
                </a:lnTo>
                <a:lnTo>
                  <a:pt x="849337" y="2397366"/>
                </a:lnTo>
                <a:lnTo>
                  <a:pt x="880859" y="2433917"/>
                </a:lnTo>
                <a:lnTo>
                  <a:pt x="913561" y="2469400"/>
                </a:lnTo>
                <a:lnTo>
                  <a:pt x="947394" y="2503792"/>
                </a:lnTo>
                <a:lnTo>
                  <a:pt x="982332" y="2537041"/>
                </a:lnTo>
                <a:lnTo>
                  <a:pt x="1018349" y="2569146"/>
                </a:lnTo>
                <a:lnTo>
                  <a:pt x="1055420" y="2600071"/>
                </a:lnTo>
                <a:lnTo>
                  <a:pt x="1093520" y="2629776"/>
                </a:lnTo>
                <a:lnTo>
                  <a:pt x="1132611" y="2658224"/>
                </a:lnTo>
                <a:lnTo>
                  <a:pt x="1172654" y="2685402"/>
                </a:lnTo>
                <a:lnTo>
                  <a:pt x="1213637" y="2711285"/>
                </a:lnTo>
                <a:lnTo>
                  <a:pt x="1255509" y="2735821"/>
                </a:lnTo>
                <a:lnTo>
                  <a:pt x="1298270" y="2758986"/>
                </a:lnTo>
                <a:lnTo>
                  <a:pt x="1341856" y="2780766"/>
                </a:lnTo>
                <a:lnTo>
                  <a:pt x="1386268" y="2801124"/>
                </a:lnTo>
                <a:lnTo>
                  <a:pt x="1431455" y="2820009"/>
                </a:lnTo>
                <a:lnTo>
                  <a:pt x="1477403" y="2837421"/>
                </a:lnTo>
                <a:lnTo>
                  <a:pt x="1524063" y="2853321"/>
                </a:lnTo>
                <a:lnTo>
                  <a:pt x="1571434" y="2867660"/>
                </a:lnTo>
                <a:lnTo>
                  <a:pt x="1619453" y="2880436"/>
                </a:lnTo>
                <a:lnTo>
                  <a:pt x="1668106" y="2891599"/>
                </a:lnTo>
                <a:lnTo>
                  <a:pt x="1717370" y="2901137"/>
                </a:lnTo>
                <a:lnTo>
                  <a:pt x="1767217" y="2908998"/>
                </a:lnTo>
                <a:lnTo>
                  <a:pt x="1817598" y="2915170"/>
                </a:lnTo>
                <a:lnTo>
                  <a:pt x="1868487" y="2919615"/>
                </a:lnTo>
                <a:lnTo>
                  <a:pt x="1919871" y="2922295"/>
                </a:lnTo>
                <a:lnTo>
                  <a:pt x="1971713" y="2923197"/>
                </a:lnTo>
                <a:lnTo>
                  <a:pt x="2021674" y="2922359"/>
                </a:lnTo>
                <a:lnTo>
                  <a:pt x="2071204" y="2919869"/>
                </a:lnTo>
                <a:lnTo>
                  <a:pt x="2120303" y="2915742"/>
                </a:lnTo>
                <a:lnTo>
                  <a:pt x="2168918" y="2910001"/>
                </a:lnTo>
                <a:lnTo>
                  <a:pt x="2217039" y="2902699"/>
                </a:lnTo>
                <a:lnTo>
                  <a:pt x="2264626" y="2893834"/>
                </a:lnTo>
                <a:lnTo>
                  <a:pt x="2311654" y="2883446"/>
                </a:lnTo>
                <a:lnTo>
                  <a:pt x="2358110" y="2871571"/>
                </a:lnTo>
                <a:lnTo>
                  <a:pt x="2403957" y="2858211"/>
                </a:lnTo>
                <a:lnTo>
                  <a:pt x="2449157" y="2843415"/>
                </a:lnTo>
                <a:lnTo>
                  <a:pt x="2493708" y="2827197"/>
                </a:lnTo>
                <a:lnTo>
                  <a:pt x="2537574" y="2809595"/>
                </a:lnTo>
                <a:lnTo>
                  <a:pt x="2580716" y="2790621"/>
                </a:lnTo>
                <a:lnTo>
                  <a:pt x="2623121" y="2770314"/>
                </a:lnTo>
                <a:lnTo>
                  <a:pt x="2664764" y="2748699"/>
                </a:lnTo>
                <a:lnTo>
                  <a:pt x="2705595" y="2725801"/>
                </a:lnTo>
                <a:lnTo>
                  <a:pt x="2745625" y="2701645"/>
                </a:lnTo>
                <a:lnTo>
                  <a:pt x="2784792" y="2676258"/>
                </a:lnTo>
                <a:lnTo>
                  <a:pt x="2823095" y="2649664"/>
                </a:lnTo>
                <a:lnTo>
                  <a:pt x="2860484" y="2621902"/>
                </a:lnTo>
                <a:lnTo>
                  <a:pt x="2896946" y="2592984"/>
                </a:lnTo>
                <a:lnTo>
                  <a:pt x="2932468" y="2562949"/>
                </a:lnTo>
                <a:lnTo>
                  <a:pt x="2966986" y="2531808"/>
                </a:lnTo>
                <a:lnTo>
                  <a:pt x="3000514" y="2499601"/>
                </a:lnTo>
                <a:lnTo>
                  <a:pt x="3033001" y="2466352"/>
                </a:lnTo>
                <a:lnTo>
                  <a:pt x="3064421" y="2432100"/>
                </a:lnTo>
                <a:lnTo>
                  <a:pt x="3094761" y="2396845"/>
                </a:lnTo>
                <a:lnTo>
                  <a:pt x="3123984" y="2360625"/>
                </a:lnTo>
                <a:lnTo>
                  <a:pt x="3152063" y="2323477"/>
                </a:lnTo>
                <a:lnTo>
                  <a:pt x="3178962" y="2285415"/>
                </a:lnTo>
                <a:lnTo>
                  <a:pt x="3204680" y="2246477"/>
                </a:lnTo>
                <a:lnTo>
                  <a:pt x="3229178" y="2206675"/>
                </a:lnTo>
                <a:lnTo>
                  <a:pt x="3252419" y="2166048"/>
                </a:lnTo>
                <a:lnTo>
                  <a:pt x="3274377" y="2124621"/>
                </a:lnTo>
                <a:lnTo>
                  <a:pt x="3295053" y="2082419"/>
                </a:lnTo>
                <a:lnTo>
                  <a:pt x="3314382" y="2039467"/>
                </a:lnTo>
                <a:lnTo>
                  <a:pt x="3332365" y="1995792"/>
                </a:lnTo>
                <a:lnTo>
                  <a:pt x="3348964" y="1951431"/>
                </a:lnTo>
                <a:lnTo>
                  <a:pt x="3364153" y="1906384"/>
                </a:lnTo>
                <a:lnTo>
                  <a:pt x="3377908" y="1860715"/>
                </a:lnTo>
                <a:lnTo>
                  <a:pt x="3390188" y="1814423"/>
                </a:lnTo>
                <a:lnTo>
                  <a:pt x="3400996" y="1767535"/>
                </a:lnTo>
                <a:lnTo>
                  <a:pt x="3943426" y="1537271"/>
                </a:lnTo>
                <a:lnTo>
                  <a:pt x="3943426" y="82730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7A2F87A-7C22-8A45-925F-C7C8DED0ADE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5396" y="529907"/>
            <a:ext cx="1218640" cy="204443"/>
          </a:xfrm>
          <a:prstGeom prst="rect">
            <a:avLst/>
          </a:prstGeom>
        </p:spPr>
      </p:pic>
      <p:sp>
        <p:nvSpPr>
          <p:cNvPr id="5" name="Titre 8">
            <a:extLst>
              <a:ext uri="{FF2B5EF4-FFF2-40B4-BE49-F238E27FC236}">
                <a16:creationId xmlns:a16="http://schemas.microsoft.com/office/drawing/2014/main" id="{1C86C45A-8FFE-FC46-9812-FD1B30C24F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820" y="2373775"/>
            <a:ext cx="6812489" cy="1052596"/>
          </a:xfrm>
        </p:spPr>
        <p:txBody>
          <a:bodyPr wrap="square">
            <a:noAutofit/>
          </a:bodyPr>
          <a:lstStyle/>
          <a:p>
            <a:r>
              <a:rPr lang="fr-FR"/>
              <a:t>Titre principal | Page de garde</a:t>
            </a:r>
          </a:p>
        </p:txBody>
      </p:sp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id="{A21945EC-1C38-B34E-B21B-C6CEED5E24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820" y="2041401"/>
            <a:ext cx="3584575" cy="319926"/>
          </a:xfrm>
          <a:noFill/>
        </p:spPr>
        <p:txBody>
          <a:bodyPr wrap="square">
            <a:noAutofit/>
          </a:bodyPr>
          <a:lstStyle>
            <a:lvl1pPr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/>
              <a:t>Date</a:t>
            </a:r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84834BBA-83EF-6F45-BE7C-6910E7D652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1820" y="3438819"/>
            <a:ext cx="6812488" cy="1277612"/>
          </a:xfrm>
          <a:noFill/>
        </p:spPr>
        <p:txBody>
          <a:bodyPr wrap="square" tIns="360000">
            <a:noAutofit/>
          </a:bodyPr>
          <a:lstStyle>
            <a:lvl1pPr>
              <a:defRPr sz="2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Sous-titre et/ou nom du client</a:t>
            </a:r>
          </a:p>
        </p:txBody>
      </p:sp>
      <p:sp>
        <p:nvSpPr>
          <p:cNvPr id="11" name="Espace réservé pour une image  10">
            <a:extLst>
              <a:ext uri="{FF2B5EF4-FFF2-40B4-BE49-F238E27FC236}">
                <a16:creationId xmlns:a16="http://schemas.microsoft.com/office/drawing/2014/main" id="{C4005944-43C9-8E4F-8BC3-8140D18514B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70850" y="7320"/>
            <a:ext cx="4121150" cy="6850680"/>
          </a:xfrm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2" name="object 3">
            <a:extLst>
              <a:ext uri="{FF2B5EF4-FFF2-40B4-BE49-F238E27FC236}">
                <a16:creationId xmlns:a16="http://schemas.microsoft.com/office/drawing/2014/main" id="{31C8AB42-2234-EE46-9EFE-294E7911C37A}"/>
              </a:ext>
            </a:extLst>
          </p:cNvPr>
          <p:cNvSpPr/>
          <p:nvPr userDrawn="1"/>
        </p:nvSpPr>
        <p:spPr>
          <a:xfrm>
            <a:off x="540000" y="5354995"/>
            <a:ext cx="6812488" cy="45719"/>
          </a:xfrm>
          <a:custGeom>
            <a:avLst/>
            <a:gdLst/>
            <a:ahLst/>
            <a:cxnLst/>
            <a:rect l="l" t="t" r="r" b="b"/>
            <a:pathLst>
              <a:path w="11113770">
                <a:moveTo>
                  <a:pt x="0" y="0"/>
                </a:moveTo>
                <a:lnTo>
                  <a:pt x="11113198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Espace réservé du texte 3">
            <a:extLst>
              <a:ext uri="{FF2B5EF4-FFF2-40B4-BE49-F238E27FC236}">
                <a16:creationId xmlns:a16="http://schemas.microsoft.com/office/drawing/2014/main" id="{AA0C67E7-C849-B14E-B2E1-4FA38C9A3D7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6575" y="5572124"/>
            <a:ext cx="2265619" cy="961410"/>
          </a:xfr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600" b="0">
                <a:latin typeface="Century Gothic" panose="020B0502020202020204" pitchFamily="34" charset="0"/>
              </a:defRPr>
            </a:lvl2pPr>
            <a:lvl3pPr>
              <a:defRPr sz="1600" b="0">
                <a:latin typeface="Century Gothic" panose="020B0502020202020204" pitchFamily="34" charset="0"/>
              </a:defRPr>
            </a:lvl3pPr>
            <a:lvl4pPr>
              <a:defRPr sz="1600" b="0">
                <a:latin typeface="Century Gothic" panose="020B0502020202020204" pitchFamily="34" charset="0"/>
              </a:defRPr>
            </a:lvl4pPr>
            <a:lvl5pPr>
              <a:defRPr sz="1600" b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/>
              <a:t>Prénom Nom Pers. 1</a:t>
            </a:r>
          </a:p>
          <a:p>
            <a:pPr lvl="0"/>
            <a:r>
              <a:rPr lang="fr-FR"/>
              <a:t>Prénom Nom Pers. 2</a:t>
            </a:r>
          </a:p>
          <a:p>
            <a:pPr lvl="0"/>
            <a:r>
              <a:rPr lang="fr-FR"/>
              <a:t>Prénom Nom Pers. 3</a:t>
            </a:r>
          </a:p>
          <a:p>
            <a:pPr lvl="0"/>
            <a:r>
              <a:rPr lang="fr-FR"/>
              <a:t>Prénom Nom Pers. 4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id="{D9772A7C-8B82-5447-B7AE-9F600ABFF42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64426" y="5572123"/>
            <a:ext cx="4388062" cy="9614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600" b="0">
                <a:latin typeface="Century Gothic" panose="020B0502020202020204" pitchFamily="34" charset="0"/>
              </a:defRPr>
            </a:lvl2pPr>
            <a:lvl3pPr>
              <a:defRPr sz="1600" b="0">
                <a:latin typeface="Century Gothic" panose="020B0502020202020204" pitchFamily="34" charset="0"/>
              </a:defRPr>
            </a:lvl3pPr>
            <a:lvl4pPr>
              <a:defRPr sz="1600" b="0">
                <a:latin typeface="Century Gothic" panose="020B0502020202020204" pitchFamily="34" charset="0"/>
              </a:defRPr>
            </a:lvl4pPr>
            <a:lvl5pPr>
              <a:defRPr sz="1600" b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/>
              <a:t>personne1@carbone4.com | numéro tél.</a:t>
            </a:r>
          </a:p>
          <a:p>
            <a:pPr lvl="0"/>
            <a:r>
              <a:rPr lang="fr-FR"/>
              <a:t>personne2@carbone4.com | numéro tél.</a:t>
            </a:r>
            <a:br>
              <a:rPr lang="fr-FR"/>
            </a:br>
            <a:r>
              <a:rPr lang="fr-FR"/>
              <a:t>personne3@carbone4.com | numéro tél.</a:t>
            </a:r>
          </a:p>
          <a:p>
            <a:pPr lvl="0"/>
            <a:r>
              <a:rPr lang="fr-FR"/>
              <a:t>personne4@carbone4.com | numéro tél.</a:t>
            </a:r>
          </a:p>
        </p:txBody>
      </p:sp>
    </p:spTree>
    <p:extLst>
      <p:ext uri="{BB962C8B-B14F-4D97-AF65-F5344CB8AC3E}">
        <p14:creationId xmlns:p14="http://schemas.microsoft.com/office/powerpoint/2010/main" val="183028866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. COUVERTURE-visuel-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4">
            <a:extLst>
              <a:ext uri="{FF2B5EF4-FFF2-40B4-BE49-F238E27FC236}">
                <a16:creationId xmlns:a16="http://schemas.microsoft.com/office/drawing/2014/main" id="{16542A4A-15D8-334A-A320-25A7105A9A5B}"/>
              </a:ext>
            </a:extLst>
          </p:cNvPr>
          <p:cNvSpPr/>
          <p:nvPr userDrawn="1"/>
        </p:nvSpPr>
        <p:spPr>
          <a:xfrm flipV="1">
            <a:off x="540000" y="886886"/>
            <a:ext cx="5463925" cy="45720"/>
          </a:xfrm>
          <a:custGeom>
            <a:avLst/>
            <a:gdLst/>
            <a:ahLst/>
            <a:cxnLst/>
            <a:rect l="l" t="t" r="r" b="b"/>
            <a:pathLst>
              <a:path w="11113770">
                <a:moveTo>
                  <a:pt x="0" y="0"/>
                </a:moveTo>
                <a:lnTo>
                  <a:pt x="11113198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D68F62C1-7019-8743-B7E7-75EE83B6A4C1}"/>
              </a:ext>
            </a:extLst>
          </p:cNvPr>
          <p:cNvSpPr/>
          <p:nvPr userDrawn="1"/>
        </p:nvSpPr>
        <p:spPr>
          <a:xfrm>
            <a:off x="5641584" y="529907"/>
            <a:ext cx="373227" cy="276660"/>
          </a:xfrm>
          <a:custGeom>
            <a:avLst/>
            <a:gdLst/>
            <a:ahLst/>
            <a:cxnLst/>
            <a:rect l="l" t="t" r="r" b="b"/>
            <a:pathLst>
              <a:path w="3943985" h="2923540">
                <a:moveTo>
                  <a:pt x="3233102" y="723531"/>
                </a:moveTo>
                <a:lnTo>
                  <a:pt x="3207880" y="682091"/>
                </a:lnTo>
                <a:lnTo>
                  <a:pt x="3181324" y="641578"/>
                </a:lnTo>
                <a:lnTo>
                  <a:pt x="3153499" y="602018"/>
                </a:lnTo>
                <a:lnTo>
                  <a:pt x="3124403" y="563422"/>
                </a:lnTo>
                <a:lnTo>
                  <a:pt x="3094075" y="525830"/>
                </a:lnTo>
                <a:lnTo>
                  <a:pt x="3062554" y="489280"/>
                </a:lnTo>
                <a:lnTo>
                  <a:pt x="3029864" y="453809"/>
                </a:lnTo>
                <a:lnTo>
                  <a:pt x="2996031" y="419417"/>
                </a:lnTo>
                <a:lnTo>
                  <a:pt x="2961094" y="386156"/>
                </a:lnTo>
                <a:lnTo>
                  <a:pt x="2925064" y="354050"/>
                </a:lnTo>
                <a:lnTo>
                  <a:pt x="2887992" y="323126"/>
                </a:lnTo>
                <a:lnTo>
                  <a:pt x="2849905" y="293433"/>
                </a:lnTo>
                <a:lnTo>
                  <a:pt x="2810814" y="264972"/>
                </a:lnTo>
                <a:lnTo>
                  <a:pt x="2770771" y="237794"/>
                </a:lnTo>
                <a:lnTo>
                  <a:pt x="2729788" y="211912"/>
                </a:lnTo>
                <a:lnTo>
                  <a:pt x="2687904" y="187375"/>
                </a:lnTo>
                <a:lnTo>
                  <a:pt x="2645156" y="164211"/>
                </a:lnTo>
                <a:lnTo>
                  <a:pt x="2601557" y="142430"/>
                </a:lnTo>
                <a:lnTo>
                  <a:pt x="2557157" y="122085"/>
                </a:lnTo>
                <a:lnTo>
                  <a:pt x="2511971" y="103187"/>
                </a:lnTo>
                <a:lnTo>
                  <a:pt x="2466022" y="85775"/>
                </a:lnTo>
                <a:lnTo>
                  <a:pt x="2419350" y="69875"/>
                </a:lnTo>
                <a:lnTo>
                  <a:pt x="2371991" y="55537"/>
                </a:lnTo>
                <a:lnTo>
                  <a:pt x="2323973" y="42760"/>
                </a:lnTo>
                <a:lnTo>
                  <a:pt x="2275306" y="31597"/>
                </a:lnTo>
                <a:lnTo>
                  <a:pt x="2226056" y="22059"/>
                </a:lnTo>
                <a:lnTo>
                  <a:pt x="2176208" y="14198"/>
                </a:lnTo>
                <a:lnTo>
                  <a:pt x="2125827" y="8026"/>
                </a:lnTo>
                <a:lnTo>
                  <a:pt x="2074938" y="3581"/>
                </a:lnTo>
                <a:lnTo>
                  <a:pt x="2023554" y="901"/>
                </a:lnTo>
                <a:lnTo>
                  <a:pt x="1971713" y="0"/>
                </a:lnTo>
                <a:lnTo>
                  <a:pt x="1921725" y="838"/>
                </a:lnTo>
                <a:lnTo>
                  <a:pt x="1872157" y="3340"/>
                </a:lnTo>
                <a:lnTo>
                  <a:pt x="1823034" y="7467"/>
                </a:lnTo>
                <a:lnTo>
                  <a:pt x="1774393" y="13208"/>
                </a:lnTo>
                <a:lnTo>
                  <a:pt x="1726247" y="20523"/>
                </a:lnTo>
                <a:lnTo>
                  <a:pt x="1678635" y="29400"/>
                </a:lnTo>
                <a:lnTo>
                  <a:pt x="1631569" y="39789"/>
                </a:lnTo>
                <a:lnTo>
                  <a:pt x="1585099" y="51689"/>
                </a:lnTo>
                <a:lnTo>
                  <a:pt x="1539227" y="65062"/>
                </a:lnTo>
                <a:lnTo>
                  <a:pt x="1493989" y="79870"/>
                </a:lnTo>
                <a:lnTo>
                  <a:pt x="1449425" y="96100"/>
                </a:lnTo>
                <a:lnTo>
                  <a:pt x="1405534" y="113728"/>
                </a:lnTo>
                <a:lnTo>
                  <a:pt x="1362367" y="132715"/>
                </a:lnTo>
                <a:lnTo>
                  <a:pt x="1319949" y="153047"/>
                </a:lnTo>
                <a:lnTo>
                  <a:pt x="1278293" y="174688"/>
                </a:lnTo>
                <a:lnTo>
                  <a:pt x="1237437" y="197612"/>
                </a:lnTo>
                <a:lnTo>
                  <a:pt x="1197394" y="221792"/>
                </a:lnTo>
                <a:lnTo>
                  <a:pt x="1158214" y="247218"/>
                </a:lnTo>
                <a:lnTo>
                  <a:pt x="1119898" y="273837"/>
                </a:lnTo>
                <a:lnTo>
                  <a:pt x="1082497" y="301625"/>
                </a:lnTo>
                <a:lnTo>
                  <a:pt x="1046022" y="330581"/>
                </a:lnTo>
                <a:lnTo>
                  <a:pt x="1010500" y="360641"/>
                </a:lnTo>
                <a:lnTo>
                  <a:pt x="975956" y="391820"/>
                </a:lnTo>
                <a:lnTo>
                  <a:pt x="942428" y="424053"/>
                </a:lnTo>
                <a:lnTo>
                  <a:pt x="909942" y="457339"/>
                </a:lnTo>
                <a:lnTo>
                  <a:pt x="878509" y="491629"/>
                </a:lnTo>
                <a:lnTo>
                  <a:pt x="848182" y="526923"/>
                </a:lnTo>
                <a:lnTo>
                  <a:pt x="818959" y="563181"/>
                </a:lnTo>
                <a:lnTo>
                  <a:pt x="790879" y="600367"/>
                </a:lnTo>
                <a:lnTo>
                  <a:pt x="763981" y="638467"/>
                </a:lnTo>
                <a:lnTo>
                  <a:pt x="738263" y="677443"/>
                </a:lnTo>
                <a:lnTo>
                  <a:pt x="713790" y="717283"/>
                </a:lnTo>
                <a:lnTo>
                  <a:pt x="690549" y="757948"/>
                </a:lnTo>
                <a:lnTo>
                  <a:pt x="668604" y="799414"/>
                </a:lnTo>
                <a:lnTo>
                  <a:pt x="647941" y="841654"/>
                </a:lnTo>
                <a:lnTo>
                  <a:pt x="628624" y="884643"/>
                </a:lnTo>
                <a:lnTo>
                  <a:pt x="610666" y="928370"/>
                </a:lnTo>
                <a:lnTo>
                  <a:pt x="594093" y="972769"/>
                </a:lnTo>
                <a:lnTo>
                  <a:pt x="578929" y="1017854"/>
                </a:lnTo>
                <a:lnTo>
                  <a:pt x="565200" y="1063574"/>
                </a:lnTo>
                <a:lnTo>
                  <a:pt x="552932" y="1109903"/>
                </a:lnTo>
                <a:lnTo>
                  <a:pt x="542163" y="1156830"/>
                </a:lnTo>
                <a:lnTo>
                  <a:pt x="0" y="1386954"/>
                </a:lnTo>
                <a:lnTo>
                  <a:pt x="0" y="2095906"/>
                </a:lnTo>
                <a:lnTo>
                  <a:pt x="1146073" y="1609420"/>
                </a:lnTo>
                <a:lnTo>
                  <a:pt x="1140396" y="1573161"/>
                </a:lnTo>
                <a:lnTo>
                  <a:pt x="1136243" y="1536433"/>
                </a:lnTo>
                <a:lnTo>
                  <a:pt x="1133690" y="1499247"/>
                </a:lnTo>
                <a:lnTo>
                  <a:pt x="1132814" y="1461617"/>
                </a:lnTo>
                <a:lnTo>
                  <a:pt x="1134148" y="1414005"/>
                </a:lnTo>
                <a:lnTo>
                  <a:pt x="1138085" y="1367104"/>
                </a:lnTo>
                <a:lnTo>
                  <a:pt x="1144549" y="1320965"/>
                </a:lnTo>
                <a:lnTo>
                  <a:pt x="1153502" y="1275664"/>
                </a:lnTo>
                <a:lnTo>
                  <a:pt x="1164831" y="1231265"/>
                </a:lnTo>
                <a:lnTo>
                  <a:pt x="1178496" y="1187856"/>
                </a:lnTo>
                <a:lnTo>
                  <a:pt x="1194422" y="1145489"/>
                </a:lnTo>
                <a:lnTo>
                  <a:pt x="1212519" y="1104252"/>
                </a:lnTo>
                <a:lnTo>
                  <a:pt x="1232738" y="1064196"/>
                </a:lnTo>
                <a:lnTo>
                  <a:pt x="1254988" y="1025423"/>
                </a:lnTo>
                <a:lnTo>
                  <a:pt x="1279220" y="987971"/>
                </a:lnTo>
                <a:lnTo>
                  <a:pt x="1305356" y="951915"/>
                </a:lnTo>
                <a:lnTo>
                  <a:pt x="1333309" y="917346"/>
                </a:lnTo>
                <a:lnTo>
                  <a:pt x="1363027" y="884326"/>
                </a:lnTo>
                <a:lnTo>
                  <a:pt x="1394434" y="852919"/>
                </a:lnTo>
                <a:lnTo>
                  <a:pt x="1427454" y="823201"/>
                </a:lnTo>
                <a:lnTo>
                  <a:pt x="1462024" y="795248"/>
                </a:lnTo>
                <a:lnTo>
                  <a:pt x="1498079" y="769112"/>
                </a:lnTo>
                <a:lnTo>
                  <a:pt x="1535518" y="744893"/>
                </a:lnTo>
                <a:lnTo>
                  <a:pt x="1574304" y="722630"/>
                </a:lnTo>
                <a:lnTo>
                  <a:pt x="1614360" y="702411"/>
                </a:lnTo>
                <a:lnTo>
                  <a:pt x="1655597" y="684314"/>
                </a:lnTo>
                <a:lnTo>
                  <a:pt x="1697951" y="668401"/>
                </a:lnTo>
                <a:lnTo>
                  <a:pt x="1741373" y="654735"/>
                </a:lnTo>
                <a:lnTo>
                  <a:pt x="1785759" y="643394"/>
                </a:lnTo>
                <a:lnTo>
                  <a:pt x="1831060" y="634453"/>
                </a:lnTo>
                <a:lnTo>
                  <a:pt x="1877199" y="627976"/>
                </a:lnTo>
                <a:lnTo>
                  <a:pt x="1924113" y="624039"/>
                </a:lnTo>
                <a:lnTo>
                  <a:pt x="1971713" y="622719"/>
                </a:lnTo>
                <a:lnTo>
                  <a:pt x="2023783" y="624306"/>
                </a:lnTo>
                <a:lnTo>
                  <a:pt x="2075002" y="629018"/>
                </a:lnTo>
                <a:lnTo>
                  <a:pt x="2125281" y="636752"/>
                </a:lnTo>
                <a:lnTo>
                  <a:pt x="2174532" y="647420"/>
                </a:lnTo>
                <a:lnTo>
                  <a:pt x="2222665" y="660933"/>
                </a:lnTo>
                <a:lnTo>
                  <a:pt x="2269579" y="677202"/>
                </a:lnTo>
                <a:lnTo>
                  <a:pt x="2315184" y="696112"/>
                </a:lnTo>
                <a:lnTo>
                  <a:pt x="2359393" y="717588"/>
                </a:lnTo>
                <a:lnTo>
                  <a:pt x="2402103" y="741527"/>
                </a:lnTo>
                <a:lnTo>
                  <a:pt x="2443238" y="767842"/>
                </a:lnTo>
                <a:lnTo>
                  <a:pt x="2482685" y="796442"/>
                </a:lnTo>
                <a:lnTo>
                  <a:pt x="2520365" y="827227"/>
                </a:lnTo>
                <a:lnTo>
                  <a:pt x="2556179" y="860107"/>
                </a:lnTo>
                <a:lnTo>
                  <a:pt x="2590050" y="894981"/>
                </a:lnTo>
                <a:lnTo>
                  <a:pt x="2621864" y="931773"/>
                </a:lnTo>
                <a:lnTo>
                  <a:pt x="2651544" y="970381"/>
                </a:lnTo>
                <a:lnTo>
                  <a:pt x="3233102" y="723531"/>
                </a:lnTo>
                <a:close/>
              </a:path>
              <a:path w="3943985" h="2923540">
                <a:moveTo>
                  <a:pt x="3943426" y="827303"/>
                </a:moveTo>
                <a:lnTo>
                  <a:pt x="2797352" y="1313776"/>
                </a:lnTo>
                <a:lnTo>
                  <a:pt x="2803029" y="1350035"/>
                </a:lnTo>
                <a:lnTo>
                  <a:pt x="2807182" y="1386776"/>
                </a:lnTo>
                <a:lnTo>
                  <a:pt x="2809735" y="1423962"/>
                </a:lnTo>
                <a:lnTo>
                  <a:pt x="2810599" y="1461604"/>
                </a:lnTo>
                <a:lnTo>
                  <a:pt x="2809265" y="1509217"/>
                </a:lnTo>
                <a:lnTo>
                  <a:pt x="2805328" y="1556118"/>
                </a:lnTo>
                <a:lnTo>
                  <a:pt x="2798864" y="1602257"/>
                </a:lnTo>
                <a:lnTo>
                  <a:pt x="2789910" y="1647558"/>
                </a:lnTo>
                <a:lnTo>
                  <a:pt x="2778582" y="1691944"/>
                </a:lnTo>
                <a:lnTo>
                  <a:pt x="2764917" y="1735353"/>
                </a:lnTo>
                <a:lnTo>
                  <a:pt x="2749004" y="1777720"/>
                </a:lnTo>
                <a:lnTo>
                  <a:pt x="2730893" y="1818957"/>
                </a:lnTo>
                <a:lnTo>
                  <a:pt x="2710675" y="1859000"/>
                </a:lnTo>
                <a:lnTo>
                  <a:pt x="2688425" y="1897786"/>
                </a:lnTo>
                <a:lnTo>
                  <a:pt x="2664193" y="1935238"/>
                </a:lnTo>
                <a:lnTo>
                  <a:pt x="2638069" y="1971281"/>
                </a:lnTo>
                <a:lnTo>
                  <a:pt x="2610104" y="2005850"/>
                </a:lnTo>
                <a:lnTo>
                  <a:pt x="2580386" y="2038870"/>
                </a:lnTo>
                <a:lnTo>
                  <a:pt x="2548991" y="2070277"/>
                </a:lnTo>
                <a:lnTo>
                  <a:pt x="2515959" y="2099995"/>
                </a:lnTo>
                <a:lnTo>
                  <a:pt x="2481389" y="2127948"/>
                </a:lnTo>
                <a:lnTo>
                  <a:pt x="2445347" y="2154085"/>
                </a:lnTo>
                <a:lnTo>
                  <a:pt x="2407894" y="2178304"/>
                </a:lnTo>
                <a:lnTo>
                  <a:pt x="2369108" y="2200567"/>
                </a:lnTo>
                <a:lnTo>
                  <a:pt x="2329065" y="2220785"/>
                </a:lnTo>
                <a:lnTo>
                  <a:pt x="2287828" y="2238883"/>
                </a:lnTo>
                <a:lnTo>
                  <a:pt x="2245461" y="2254796"/>
                </a:lnTo>
                <a:lnTo>
                  <a:pt x="2202053" y="2268461"/>
                </a:lnTo>
                <a:lnTo>
                  <a:pt x="2157666" y="2279802"/>
                </a:lnTo>
                <a:lnTo>
                  <a:pt x="2112365" y="2288743"/>
                </a:lnTo>
                <a:lnTo>
                  <a:pt x="2066226" y="2295220"/>
                </a:lnTo>
                <a:lnTo>
                  <a:pt x="2019312" y="2299157"/>
                </a:lnTo>
                <a:lnTo>
                  <a:pt x="1971713" y="2300478"/>
                </a:lnTo>
                <a:lnTo>
                  <a:pt x="1919643" y="2298890"/>
                </a:lnTo>
                <a:lnTo>
                  <a:pt x="1868424" y="2294178"/>
                </a:lnTo>
                <a:lnTo>
                  <a:pt x="1818132" y="2286444"/>
                </a:lnTo>
                <a:lnTo>
                  <a:pt x="1768881" y="2275776"/>
                </a:lnTo>
                <a:lnTo>
                  <a:pt x="1720748" y="2262263"/>
                </a:lnTo>
                <a:lnTo>
                  <a:pt x="1673834" y="2245995"/>
                </a:lnTo>
                <a:lnTo>
                  <a:pt x="1628228" y="2227084"/>
                </a:lnTo>
                <a:lnTo>
                  <a:pt x="1584020" y="2205609"/>
                </a:lnTo>
                <a:lnTo>
                  <a:pt x="1541310" y="2181669"/>
                </a:lnTo>
                <a:lnTo>
                  <a:pt x="1500174" y="2155355"/>
                </a:lnTo>
                <a:lnTo>
                  <a:pt x="1460728" y="2126754"/>
                </a:lnTo>
                <a:lnTo>
                  <a:pt x="1423047" y="2095969"/>
                </a:lnTo>
                <a:lnTo>
                  <a:pt x="1387233" y="2063089"/>
                </a:lnTo>
                <a:lnTo>
                  <a:pt x="1353362" y="2028215"/>
                </a:lnTo>
                <a:lnTo>
                  <a:pt x="1321549" y="1991423"/>
                </a:lnTo>
                <a:lnTo>
                  <a:pt x="1291869" y="1952815"/>
                </a:lnTo>
                <a:lnTo>
                  <a:pt x="710323" y="2199678"/>
                </a:lnTo>
                <a:lnTo>
                  <a:pt x="735545" y="2241105"/>
                </a:lnTo>
                <a:lnTo>
                  <a:pt x="762088" y="2281631"/>
                </a:lnTo>
                <a:lnTo>
                  <a:pt x="789927" y="2321191"/>
                </a:lnTo>
                <a:lnTo>
                  <a:pt x="819023" y="2359787"/>
                </a:lnTo>
                <a:lnTo>
                  <a:pt x="849337" y="2397366"/>
                </a:lnTo>
                <a:lnTo>
                  <a:pt x="880859" y="2433917"/>
                </a:lnTo>
                <a:lnTo>
                  <a:pt x="913561" y="2469400"/>
                </a:lnTo>
                <a:lnTo>
                  <a:pt x="947394" y="2503792"/>
                </a:lnTo>
                <a:lnTo>
                  <a:pt x="982332" y="2537041"/>
                </a:lnTo>
                <a:lnTo>
                  <a:pt x="1018349" y="2569146"/>
                </a:lnTo>
                <a:lnTo>
                  <a:pt x="1055420" y="2600071"/>
                </a:lnTo>
                <a:lnTo>
                  <a:pt x="1093520" y="2629776"/>
                </a:lnTo>
                <a:lnTo>
                  <a:pt x="1132611" y="2658224"/>
                </a:lnTo>
                <a:lnTo>
                  <a:pt x="1172654" y="2685402"/>
                </a:lnTo>
                <a:lnTo>
                  <a:pt x="1213637" y="2711285"/>
                </a:lnTo>
                <a:lnTo>
                  <a:pt x="1255509" y="2735821"/>
                </a:lnTo>
                <a:lnTo>
                  <a:pt x="1298270" y="2758986"/>
                </a:lnTo>
                <a:lnTo>
                  <a:pt x="1341856" y="2780766"/>
                </a:lnTo>
                <a:lnTo>
                  <a:pt x="1386268" y="2801124"/>
                </a:lnTo>
                <a:lnTo>
                  <a:pt x="1431455" y="2820009"/>
                </a:lnTo>
                <a:lnTo>
                  <a:pt x="1477403" y="2837421"/>
                </a:lnTo>
                <a:lnTo>
                  <a:pt x="1524063" y="2853321"/>
                </a:lnTo>
                <a:lnTo>
                  <a:pt x="1571434" y="2867660"/>
                </a:lnTo>
                <a:lnTo>
                  <a:pt x="1619453" y="2880436"/>
                </a:lnTo>
                <a:lnTo>
                  <a:pt x="1668106" y="2891599"/>
                </a:lnTo>
                <a:lnTo>
                  <a:pt x="1717370" y="2901137"/>
                </a:lnTo>
                <a:lnTo>
                  <a:pt x="1767217" y="2908998"/>
                </a:lnTo>
                <a:lnTo>
                  <a:pt x="1817598" y="2915170"/>
                </a:lnTo>
                <a:lnTo>
                  <a:pt x="1868487" y="2919615"/>
                </a:lnTo>
                <a:lnTo>
                  <a:pt x="1919871" y="2922295"/>
                </a:lnTo>
                <a:lnTo>
                  <a:pt x="1971713" y="2923197"/>
                </a:lnTo>
                <a:lnTo>
                  <a:pt x="2021674" y="2922359"/>
                </a:lnTo>
                <a:lnTo>
                  <a:pt x="2071204" y="2919869"/>
                </a:lnTo>
                <a:lnTo>
                  <a:pt x="2120303" y="2915742"/>
                </a:lnTo>
                <a:lnTo>
                  <a:pt x="2168918" y="2910001"/>
                </a:lnTo>
                <a:lnTo>
                  <a:pt x="2217039" y="2902699"/>
                </a:lnTo>
                <a:lnTo>
                  <a:pt x="2264626" y="2893834"/>
                </a:lnTo>
                <a:lnTo>
                  <a:pt x="2311654" y="2883446"/>
                </a:lnTo>
                <a:lnTo>
                  <a:pt x="2358110" y="2871571"/>
                </a:lnTo>
                <a:lnTo>
                  <a:pt x="2403957" y="2858211"/>
                </a:lnTo>
                <a:lnTo>
                  <a:pt x="2449157" y="2843415"/>
                </a:lnTo>
                <a:lnTo>
                  <a:pt x="2493708" y="2827197"/>
                </a:lnTo>
                <a:lnTo>
                  <a:pt x="2537574" y="2809595"/>
                </a:lnTo>
                <a:lnTo>
                  <a:pt x="2580716" y="2790621"/>
                </a:lnTo>
                <a:lnTo>
                  <a:pt x="2623121" y="2770314"/>
                </a:lnTo>
                <a:lnTo>
                  <a:pt x="2664764" y="2748699"/>
                </a:lnTo>
                <a:lnTo>
                  <a:pt x="2705595" y="2725801"/>
                </a:lnTo>
                <a:lnTo>
                  <a:pt x="2745625" y="2701645"/>
                </a:lnTo>
                <a:lnTo>
                  <a:pt x="2784792" y="2676258"/>
                </a:lnTo>
                <a:lnTo>
                  <a:pt x="2823095" y="2649664"/>
                </a:lnTo>
                <a:lnTo>
                  <a:pt x="2860484" y="2621902"/>
                </a:lnTo>
                <a:lnTo>
                  <a:pt x="2896946" y="2592984"/>
                </a:lnTo>
                <a:lnTo>
                  <a:pt x="2932468" y="2562949"/>
                </a:lnTo>
                <a:lnTo>
                  <a:pt x="2966986" y="2531808"/>
                </a:lnTo>
                <a:lnTo>
                  <a:pt x="3000514" y="2499601"/>
                </a:lnTo>
                <a:lnTo>
                  <a:pt x="3033001" y="2466352"/>
                </a:lnTo>
                <a:lnTo>
                  <a:pt x="3064421" y="2432100"/>
                </a:lnTo>
                <a:lnTo>
                  <a:pt x="3094761" y="2396845"/>
                </a:lnTo>
                <a:lnTo>
                  <a:pt x="3123984" y="2360625"/>
                </a:lnTo>
                <a:lnTo>
                  <a:pt x="3152063" y="2323477"/>
                </a:lnTo>
                <a:lnTo>
                  <a:pt x="3178962" y="2285415"/>
                </a:lnTo>
                <a:lnTo>
                  <a:pt x="3204680" y="2246477"/>
                </a:lnTo>
                <a:lnTo>
                  <a:pt x="3229178" y="2206675"/>
                </a:lnTo>
                <a:lnTo>
                  <a:pt x="3252419" y="2166048"/>
                </a:lnTo>
                <a:lnTo>
                  <a:pt x="3274377" y="2124621"/>
                </a:lnTo>
                <a:lnTo>
                  <a:pt x="3295053" y="2082419"/>
                </a:lnTo>
                <a:lnTo>
                  <a:pt x="3314382" y="2039467"/>
                </a:lnTo>
                <a:lnTo>
                  <a:pt x="3332365" y="1995792"/>
                </a:lnTo>
                <a:lnTo>
                  <a:pt x="3348964" y="1951431"/>
                </a:lnTo>
                <a:lnTo>
                  <a:pt x="3364153" y="1906384"/>
                </a:lnTo>
                <a:lnTo>
                  <a:pt x="3377908" y="1860715"/>
                </a:lnTo>
                <a:lnTo>
                  <a:pt x="3390188" y="1814423"/>
                </a:lnTo>
                <a:lnTo>
                  <a:pt x="3400996" y="1767535"/>
                </a:lnTo>
                <a:lnTo>
                  <a:pt x="3943426" y="1537271"/>
                </a:lnTo>
                <a:lnTo>
                  <a:pt x="3943426" y="82730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6AFE9A8D-490E-E24D-88EE-C9D8B3A866C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5396" y="529907"/>
            <a:ext cx="1218640" cy="204443"/>
          </a:xfrm>
          <a:prstGeom prst="rect">
            <a:avLst/>
          </a:prstGeom>
        </p:spPr>
      </p:pic>
      <p:sp>
        <p:nvSpPr>
          <p:cNvPr id="8" name="Titre 8">
            <a:extLst>
              <a:ext uri="{FF2B5EF4-FFF2-40B4-BE49-F238E27FC236}">
                <a16:creationId xmlns:a16="http://schemas.microsoft.com/office/drawing/2014/main" id="{977A634E-7DCE-E34C-87C0-B5AADCA794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820" y="1911188"/>
            <a:ext cx="5462991" cy="1515183"/>
          </a:xfrm>
        </p:spPr>
        <p:txBody>
          <a:bodyPr wrap="square">
            <a:noAutofit/>
          </a:bodyPr>
          <a:lstStyle/>
          <a:p>
            <a:r>
              <a:rPr lang="fr-FR"/>
              <a:t>Titre principal | Page de garde</a:t>
            </a:r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8E936C5B-420D-BB4E-9EE9-9BD549C8B5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820" y="1591262"/>
            <a:ext cx="3584575" cy="319926"/>
          </a:xfrm>
          <a:noFill/>
        </p:spPr>
        <p:txBody>
          <a:bodyPr wrap="square">
            <a:noAutofit/>
          </a:bodyPr>
          <a:lstStyle>
            <a:lvl1pPr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/>
              <a:t>Dat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7C4BCF5C-E562-2842-9531-659E7B398E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1820" y="3438819"/>
            <a:ext cx="5452106" cy="1277612"/>
          </a:xfrm>
          <a:noFill/>
        </p:spPr>
        <p:txBody>
          <a:bodyPr wrap="square" tIns="360000">
            <a:noAutofit/>
          </a:bodyPr>
          <a:lstStyle>
            <a:lvl1pPr>
              <a:defRPr sz="2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Sous-titre et/ou nom du client</a:t>
            </a:r>
          </a:p>
        </p:txBody>
      </p:sp>
      <p:sp>
        <p:nvSpPr>
          <p:cNvPr id="12" name="Espace réservé pour une image  10">
            <a:extLst>
              <a:ext uri="{FF2B5EF4-FFF2-40B4-BE49-F238E27FC236}">
                <a16:creationId xmlns:a16="http://schemas.microsoft.com/office/drawing/2014/main" id="{35CA691E-3BB4-2D4B-B6D7-8603ABC806F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628128" y="7320"/>
            <a:ext cx="5563872" cy="6850680"/>
          </a:xfrm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3" name="object 3">
            <a:extLst>
              <a:ext uri="{FF2B5EF4-FFF2-40B4-BE49-F238E27FC236}">
                <a16:creationId xmlns:a16="http://schemas.microsoft.com/office/drawing/2014/main" id="{2D83197D-932B-E24C-B455-C554610EF399}"/>
              </a:ext>
            </a:extLst>
          </p:cNvPr>
          <p:cNvSpPr/>
          <p:nvPr userDrawn="1"/>
        </p:nvSpPr>
        <p:spPr>
          <a:xfrm>
            <a:off x="540000" y="5354995"/>
            <a:ext cx="5463925" cy="45719"/>
          </a:xfrm>
          <a:custGeom>
            <a:avLst/>
            <a:gdLst/>
            <a:ahLst/>
            <a:cxnLst/>
            <a:rect l="l" t="t" r="r" b="b"/>
            <a:pathLst>
              <a:path w="11113770">
                <a:moveTo>
                  <a:pt x="0" y="0"/>
                </a:moveTo>
                <a:lnTo>
                  <a:pt x="11113198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03213AB1-F77E-3341-896C-4FD513EA86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6575" y="5572124"/>
            <a:ext cx="2265619" cy="961410"/>
          </a:xfr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600" b="0">
                <a:latin typeface="Century Gothic" panose="020B0502020202020204" pitchFamily="34" charset="0"/>
              </a:defRPr>
            </a:lvl2pPr>
            <a:lvl3pPr>
              <a:defRPr sz="1600" b="0">
                <a:latin typeface="Century Gothic" panose="020B0502020202020204" pitchFamily="34" charset="0"/>
              </a:defRPr>
            </a:lvl3pPr>
            <a:lvl4pPr>
              <a:defRPr sz="1600" b="0">
                <a:latin typeface="Century Gothic" panose="020B0502020202020204" pitchFamily="34" charset="0"/>
              </a:defRPr>
            </a:lvl4pPr>
            <a:lvl5pPr>
              <a:defRPr sz="1600" b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/>
              <a:t>Prénom Nom Pers. 1</a:t>
            </a:r>
          </a:p>
          <a:p>
            <a:pPr lvl="0"/>
            <a:r>
              <a:rPr lang="fr-FR"/>
              <a:t>Prénom Nom Pers. 2</a:t>
            </a:r>
          </a:p>
          <a:p>
            <a:pPr lvl="0"/>
            <a:r>
              <a:rPr lang="fr-FR"/>
              <a:t>Prénom Nom Pers. 3</a:t>
            </a:r>
          </a:p>
          <a:p>
            <a:pPr lvl="0"/>
            <a:r>
              <a:rPr lang="fr-FR"/>
              <a:t>Prénom Nom Pers. 4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7DBAF18F-C535-F74F-9877-3BF88CB6451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64426" y="5572123"/>
            <a:ext cx="3539613" cy="9614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600" b="0">
                <a:latin typeface="Century Gothic" panose="020B0502020202020204" pitchFamily="34" charset="0"/>
              </a:defRPr>
            </a:lvl2pPr>
            <a:lvl3pPr>
              <a:defRPr sz="1600" b="0">
                <a:latin typeface="Century Gothic" panose="020B0502020202020204" pitchFamily="34" charset="0"/>
              </a:defRPr>
            </a:lvl3pPr>
            <a:lvl4pPr>
              <a:defRPr sz="1600" b="0">
                <a:latin typeface="Century Gothic" panose="020B0502020202020204" pitchFamily="34" charset="0"/>
              </a:defRPr>
            </a:lvl4pPr>
            <a:lvl5pPr>
              <a:defRPr sz="1600" b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/>
              <a:t>personne1@carbone4.com</a:t>
            </a:r>
          </a:p>
          <a:p>
            <a:pPr lvl="0"/>
            <a:r>
              <a:rPr lang="fr-FR"/>
              <a:t>personne2@carbone4.com  </a:t>
            </a:r>
            <a:br>
              <a:rPr lang="fr-FR"/>
            </a:br>
            <a:r>
              <a:rPr lang="fr-FR"/>
              <a:t>personne3@carbone4.com</a:t>
            </a:r>
          </a:p>
          <a:p>
            <a:pPr lvl="0"/>
            <a:r>
              <a:rPr lang="fr-FR"/>
              <a:t>personne4@carbone4.com</a:t>
            </a:r>
          </a:p>
        </p:txBody>
      </p:sp>
    </p:spTree>
    <p:extLst>
      <p:ext uri="{BB962C8B-B14F-4D97-AF65-F5344CB8AC3E}">
        <p14:creationId xmlns:p14="http://schemas.microsoft.com/office/powerpoint/2010/main" val="301609822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. INTERCALAIRE-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4">
            <a:extLst>
              <a:ext uri="{FF2B5EF4-FFF2-40B4-BE49-F238E27FC236}">
                <a16:creationId xmlns:a16="http://schemas.microsoft.com/office/drawing/2014/main" id="{D5C8E86E-A939-CD4E-AB6D-1C5B89650A4F}"/>
              </a:ext>
            </a:extLst>
          </p:cNvPr>
          <p:cNvSpPr/>
          <p:nvPr userDrawn="1"/>
        </p:nvSpPr>
        <p:spPr>
          <a:xfrm>
            <a:off x="540000" y="759854"/>
            <a:ext cx="11113770" cy="0"/>
          </a:xfrm>
          <a:custGeom>
            <a:avLst/>
            <a:gdLst/>
            <a:ahLst/>
            <a:cxnLst/>
            <a:rect l="l" t="t" r="r" b="b"/>
            <a:pathLst>
              <a:path w="11113770">
                <a:moveTo>
                  <a:pt x="0" y="0"/>
                </a:moveTo>
                <a:lnTo>
                  <a:pt x="11113198" y="0"/>
                </a:lnTo>
              </a:path>
            </a:pathLst>
          </a:custGeom>
          <a:ln w="3175">
            <a:solidFill>
              <a:schemeClr val="bg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E402D0AA-FA02-C344-83CA-7F1003DB07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3560" y="542154"/>
            <a:ext cx="693329" cy="116315"/>
          </a:xfrm>
          <a:prstGeom prst="rect">
            <a:avLst/>
          </a:prstGeom>
        </p:spPr>
      </p:pic>
      <p:sp>
        <p:nvSpPr>
          <p:cNvPr id="8" name="object 5">
            <a:extLst>
              <a:ext uri="{FF2B5EF4-FFF2-40B4-BE49-F238E27FC236}">
                <a16:creationId xmlns:a16="http://schemas.microsoft.com/office/drawing/2014/main" id="{2E882F41-486D-F143-97E8-5403A12FAE3D}"/>
              </a:ext>
            </a:extLst>
          </p:cNvPr>
          <p:cNvSpPr/>
          <p:nvPr userDrawn="1"/>
        </p:nvSpPr>
        <p:spPr>
          <a:xfrm>
            <a:off x="11463642" y="539642"/>
            <a:ext cx="188608" cy="139808"/>
          </a:xfrm>
          <a:custGeom>
            <a:avLst/>
            <a:gdLst/>
            <a:ahLst/>
            <a:cxnLst/>
            <a:rect l="l" t="t" r="r" b="b"/>
            <a:pathLst>
              <a:path w="3943985" h="2923540">
                <a:moveTo>
                  <a:pt x="3233102" y="723531"/>
                </a:moveTo>
                <a:lnTo>
                  <a:pt x="3207880" y="682091"/>
                </a:lnTo>
                <a:lnTo>
                  <a:pt x="3181324" y="641578"/>
                </a:lnTo>
                <a:lnTo>
                  <a:pt x="3153499" y="602018"/>
                </a:lnTo>
                <a:lnTo>
                  <a:pt x="3124403" y="563422"/>
                </a:lnTo>
                <a:lnTo>
                  <a:pt x="3094075" y="525830"/>
                </a:lnTo>
                <a:lnTo>
                  <a:pt x="3062554" y="489280"/>
                </a:lnTo>
                <a:lnTo>
                  <a:pt x="3029864" y="453809"/>
                </a:lnTo>
                <a:lnTo>
                  <a:pt x="2996031" y="419417"/>
                </a:lnTo>
                <a:lnTo>
                  <a:pt x="2961094" y="386156"/>
                </a:lnTo>
                <a:lnTo>
                  <a:pt x="2925064" y="354050"/>
                </a:lnTo>
                <a:lnTo>
                  <a:pt x="2887992" y="323126"/>
                </a:lnTo>
                <a:lnTo>
                  <a:pt x="2849905" y="293433"/>
                </a:lnTo>
                <a:lnTo>
                  <a:pt x="2810814" y="264972"/>
                </a:lnTo>
                <a:lnTo>
                  <a:pt x="2770771" y="237794"/>
                </a:lnTo>
                <a:lnTo>
                  <a:pt x="2729788" y="211912"/>
                </a:lnTo>
                <a:lnTo>
                  <a:pt x="2687904" y="187375"/>
                </a:lnTo>
                <a:lnTo>
                  <a:pt x="2645156" y="164211"/>
                </a:lnTo>
                <a:lnTo>
                  <a:pt x="2601557" y="142430"/>
                </a:lnTo>
                <a:lnTo>
                  <a:pt x="2557157" y="122085"/>
                </a:lnTo>
                <a:lnTo>
                  <a:pt x="2511971" y="103187"/>
                </a:lnTo>
                <a:lnTo>
                  <a:pt x="2466022" y="85775"/>
                </a:lnTo>
                <a:lnTo>
                  <a:pt x="2419350" y="69875"/>
                </a:lnTo>
                <a:lnTo>
                  <a:pt x="2371991" y="55537"/>
                </a:lnTo>
                <a:lnTo>
                  <a:pt x="2323973" y="42760"/>
                </a:lnTo>
                <a:lnTo>
                  <a:pt x="2275306" y="31597"/>
                </a:lnTo>
                <a:lnTo>
                  <a:pt x="2226056" y="22059"/>
                </a:lnTo>
                <a:lnTo>
                  <a:pt x="2176208" y="14198"/>
                </a:lnTo>
                <a:lnTo>
                  <a:pt x="2125827" y="8026"/>
                </a:lnTo>
                <a:lnTo>
                  <a:pt x="2074938" y="3581"/>
                </a:lnTo>
                <a:lnTo>
                  <a:pt x="2023554" y="901"/>
                </a:lnTo>
                <a:lnTo>
                  <a:pt x="1971713" y="0"/>
                </a:lnTo>
                <a:lnTo>
                  <a:pt x="1921725" y="838"/>
                </a:lnTo>
                <a:lnTo>
                  <a:pt x="1872157" y="3340"/>
                </a:lnTo>
                <a:lnTo>
                  <a:pt x="1823034" y="7467"/>
                </a:lnTo>
                <a:lnTo>
                  <a:pt x="1774393" y="13208"/>
                </a:lnTo>
                <a:lnTo>
                  <a:pt x="1726247" y="20523"/>
                </a:lnTo>
                <a:lnTo>
                  <a:pt x="1678635" y="29400"/>
                </a:lnTo>
                <a:lnTo>
                  <a:pt x="1631569" y="39789"/>
                </a:lnTo>
                <a:lnTo>
                  <a:pt x="1585099" y="51689"/>
                </a:lnTo>
                <a:lnTo>
                  <a:pt x="1539227" y="65062"/>
                </a:lnTo>
                <a:lnTo>
                  <a:pt x="1493989" y="79870"/>
                </a:lnTo>
                <a:lnTo>
                  <a:pt x="1449425" y="96100"/>
                </a:lnTo>
                <a:lnTo>
                  <a:pt x="1405534" y="113728"/>
                </a:lnTo>
                <a:lnTo>
                  <a:pt x="1362367" y="132715"/>
                </a:lnTo>
                <a:lnTo>
                  <a:pt x="1319949" y="153047"/>
                </a:lnTo>
                <a:lnTo>
                  <a:pt x="1278293" y="174688"/>
                </a:lnTo>
                <a:lnTo>
                  <a:pt x="1237437" y="197612"/>
                </a:lnTo>
                <a:lnTo>
                  <a:pt x="1197394" y="221792"/>
                </a:lnTo>
                <a:lnTo>
                  <a:pt x="1158214" y="247218"/>
                </a:lnTo>
                <a:lnTo>
                  <a:pt x="1119898" y="273837"/>
                </a:lnTo>
                <a:lnTo>
                  <a:pt x="1082497" y="301625"/>
                </a:lnTo>
                <a:lnTo>
                  <a:pt x="1046022" y="330581"/>
                </a:lnTo>
                <a:lnTo>
                  <a:pt x="1010500" y="360641"/>
                </a:lnTo>
                <a:lnTo>
                  <a:pt x="975956" y="391820"/>
                </a:lnTo>
                <a:lnTo>
                  <a:pt x="942428" y="424053"/>
                </a:lnTo>
                <a:lnTo>
                  <a:pt x="909942" y="457339"/>
                </a:lnTo>
                <a:lnTo>
                  <a:pt x="878509" y="491629"/>
                </a:lnTo>
                <a:lnTo>
                  <a:pt x="848182" y="526923"/>
                </a:lnTo>
                <a:lnTo>
                  <a:pt x="818959" y="563181"/>
                </a:lnTo>
                <a:lnTo>
                  <a:pt x="790879" y="600367"/>
                </a:lnTo>
                <a:lnTo>
                  <a:pt x="763981" y="638467"/>
                </a:lnTo>
                <a:lnTo>
                  <a:pt x="738263" y="677443"/>
                </a:lnTo>
                <a:lnTo>
                  <a:pt x="713790" y="717283"/>
                </a:lnTo>
                <a:lnTo>
                  <a:pt x="690549" y="757948"/>
                </a:lnTo>
                <a:lnTo>
                  <a:pt x="668604" y="799414"/>
                </a:lnTo>
                <a:lnTo>
                  <a:pt x="647941" y="841654"/>
                </a:lnTo>
                <a:lnTo>
                  <a:pt x="628624" y="884643"/>
                </a:lnTo>
                <a:lnTo>
                  <a:pt x="610666" y="928370"/>
                </a:lnTo>
                <a:lnTo>
                  <a:pt x="594093" y="972769"/>
                </a:lnTo>
                <a:lnTo>
                  <a:pt x="578929" y="1017854"/>
                </a:lnTo>
                <a:lnTo>
                  <a:pt x="565200" y="1063574"/>
                </a:lnTo>
                <a:lnTo>
                  <a:pt x="552932" y="1109903"/>
                </a:lnTo>
                <a:lnTo>
                  <a:pt x="542163" y="1156830"/>
                </a:lnTo>
                <a:lnTo>
                  <a:pt x="0" y="1386954"/>
                </a:lnTo>
                <a:lnTo>
                  <a:pt x="0" y="2095906"/>
                </a:lnTo>
                <a:lnTo>
                  <a:pt x="1146073" y="1609420"/>
                </a:lnTo>
                <a:lnTo>
                  <a:pt x="1140396" y="1573161"/>
                </a:lnTo>
                <a:lnTo>
                  <a:pt x="1136243" y="1536433"/>
                </a:lnTo>
                <a:lnTo>
                  <a:pt x="1133690" y="1499247"/>
                </a:lnTo>
                <a:lnTo>
                  <a:pt x="1132814" y="1461617"/>
                </a:lnTo>
                <a:lnTo>
                  <a:pt x="1134148" y="1414005"/>
                </a:lnTo>
                <a:lnTo>
                  <a:pt x="1138085" y="1367104"/>
                </a:lnTo>
                <a:lnTo>
                  <a:pt x="1144549" y="1320965"/>
                </a:lnTo>
                <a:lnTo>
                  <a:pt x="1153502" y="1275664"/>
                </a:lnTo>
                <a:lnTo>
                  <a:pt x="1164831" y="1231265"/>
                </a:lnTo>
                <a:lnTo>
                  <a:pt x="1178496" y="1187856"/>
                </a:lnTo>
                <a:lnTo>
                  <a:pt x="1194422" y="1145489"/>
                </a:lnTo>
                <a:lnTo>
                  <a:pt x="1212519" y="1104252"/>
                </a:lnTo>
                <a:lnTo>
                  <a:pt x="1232738" y="1064196"/>
                </a:lnTo>
                <a:lnTo>
                  <a:pt x="1254988" y="1025423"/>
                </a:lnTo>
                <a:lnTo>
                  <a:pt x="1279220" y="987971"/>
                </a:lnTo>
                <a:lnTo>
                  <a:pt x="1305356" y="951915"/>
                </a:lnTo>
                <a:lnTo>
                  <a:pt x="1333309" y="917346"/>
                </a:lnTo>
                <a:lnTo>
                  <a:pt x="1363027" y="884326"/>
                </a:lnTo>
                <a:lnTo>
                  <a:pt x="1394434" y="852919"/>
                </a:lnTo>
                <a:lnTo>
                  <a:pt x="1427454" y="823201"/>
                </a:lnTo>
                <a:lnTo>
                  <a:pt x="1462024" y="795248"/>
                </a:lnTo>
                <a:lnTo>
                  <a:pt x="1498079" y="769112"/>
                </a:lnTo>
                <a:lnTo>
                  <a:pt x="1535518" y="744893"/>
                </a:lnTo>
                <a:lnTo>
                  <a:pt x="1574304" y="722630"/>
                </a:lnTo>
                <a:lnTo>
                  <a:pt x="1614360" y="702411"/>
                </a:lnTo>
                <a:lnTo>
                  <a:pt x="1655597" y="684314"/>
                </a:lnTo>
                <a:lnTo>
                  <a:pt x="1697951" y="668401"/>
                </a:lnTo>
                <a:lnTo>
                  <a:pt x="1741373" y="654735"/>
                </a:lnTo>
                <a:lnTo>
                  <a:pt x="1785759" y="643394"/>
                </a:lnTo>
                <a:lnTo>
                  <a:pt x="1831060" y="634453"/>
                </a:lnTo>
                <a:lnTo>
                  <a:pt x="1877199" y="627976"/>
                </a:lnTo>
                <a:lnTo>
                  <a:pt x="1924113" y="624039"/>
                </a:lnTo>
                <a:lnTo>
                  <a:pt x="1971713" y="622719"/>
                </a:lnTo>
                <a:lnTo>
                  <a:pt x="2023783" y="624306"/>
                </a:lnTo>
                <a:lnTo>
                  <a:pt x="2075002" y="629018"/>
                </a:lnTo>
                <a:lnTo>
                  <a:pt x="2125281" y="636752"/>
                </a:lnTo>
                <a:lnTo>
                  <a:pt x="2174532" y="647420"/>
                </a:lnTo>
                <a:lnTo>
                  <a:pt x="2222665" y="660933"/>
                </a:lnTo>
                <a:lnTo>
                  <a:pt x="2269579" y="677202"/>
                </a:lnTo>
                <a:lnTo>
                  <a:pt x="2315184" y="696112"/>
                </a:lnTo>
                <a:lnTo>
                  <a:pt x="2359393" y="717588"/>
                </a:lnTo>
                <a:lnTo>
                  <a:pt x="2402103" y="741527"/>
                </a:lnTo>
                <a:lnTo>
                  <a:pt x="2443238" y="767842"/>
                </a:lnTo>
                <a:lnTo>
                  <a:pt x="2482685" y="796442"/>
                </a:lnTo>
                <a:lnTo>
                  <a:pt x="2520365" y="827227"/>
                </a:lnTo>
                <a:lnTo>
                  <a:pt x="2556179" y="860107"/>
                </a:lnTo>
                <a:lnTo>
                  <a:pt x="2590050" y="894981"/>
                </a:lnTo>
                <a:lnTo>
                  <a:pt x="2621864" y="931773"/>
                </a:lnTo>
                <a:lnTo>
                  <a:pt x="2651544" y="970381"/>
                </a:lnTo>
                <a:lnTo>
                  <a:pt x="3233102" y="723531"/>
                </a:lnTo>
                <a:close/>
              </a:path>
              <a:path w="3943985" h="2923540">
                <a:moveTo>
                  <a:pt x="3943426" y="827303"/>
                </a:moveTo>
                <a:lnTo>
                  <a:pt x="2797352" y="1313776"/>
                </a:lnTo>
                <a:lnTo>
                  <a:pt x="2803029" y="1350035"/>
                </a:lnTo>
                <a:lnTo>
                  <a:pt x="2807182" y="1386776"/>
                </a:lnTo>
                <a:lnTo>
                  <a:pt x="2809735" y="1423962"/>
                </a:lnTo>
                <a:lnTo>
                  <a:pt x="2810599" y="1461604"/>
                </a:lnTo>
                <a:lnTo>
                  <a:pt x="2809265" y="1509217"/>
                </a:lnTo>
                <a:lnTo>
                  <a:pt x="2805328" y="1556118"/>
                </a:lnTo>
                <a:lnTo>
                  <a:pt x="2798864" y="1602257"/>
                </a:lnTo>
                <a:lnTo>
                  <a:pt x="2789910" y="1647558"/>
                </a:lnTo>
                <a:lnTo>
                  <a:pt x="2778582" y="1691944"/>
                </a:lnTo>
                <a:lnTo>
                  <a:pt x="2764917" y="1735353"/>
                </a:lnTo>
                <a:lnTo>
                  <a:pt x="2749004" y="1777720"/>
                </a:lnTo>
                <a:lnTo>
                  <a:pt x="2730893" y="1818957"/>
                </a:lnTo>
                <a:lnTo>
                  <a:pt x="2710675" y="1859000"/>
                </a:lnTo>
                <a:lnTo>
                  <a:pt x="2688425" y="1897786"/>
                </a:lnTo>
                <a:lnTo>
                  <a:pt x="2664193" y="1935238"/>
                </a:lnTo>
                <a:lnTo>
                  <a:pt x="2638069" y="1971281"/>
                </a:lnTo>
                <a:lnTo>
                  <a:pt x="2610104" y="2005850"/>
                </a:lnTo>
                <a:lnTo>
                  <a:pt x="2580386" y="2038870"/>
                </a:lnTo>
                <a:lnTo>
                  <a:pt x="2548991" y="2070277"/>
                </a:lnTo>
                <a:lnTo>
                  <a:pt x="2515959" y="2099995"/>
                </a:lnTo>
                <a:lnTo>
                  <a:pt x="2481389" y="2127948"/>
                </a:lnTo>
                <a:lnTo>
                  <a:pt x="2445347" y="2154085"/>
                </a:lnTo>
                <a:lnTo>
                  <a:pt x="2407894" y="2178304"/>
                </a:lnTo>
                <a:lnTo>
                  <a:pt x="2369108" y="2200567"/>
                </a:lnTo>
                <a:lnTo>
                  <a:pt x="2329065" y="2220785"/>
                </a:lnTo>
                <a:lnTo>
                  <a:pt x="2287828" y="2238883"/>
                </a:lnTo>
                <a:lnTo>
                  <a:pt x="2245461" y="2254796"/>
                </a:lnTo>
                <a:lnTo>
                  <a:pt x="2202053" y="2268461"/>
                </a:lnTo>
                <a:lnTo>
                  <a:pt x="2157666" y="2279802"/>
                </a:lnTo>
                <a:lnTo>
                  <a:pt x="2112365" y="2288743"/>
                </a:lnTo>
                <a:lnTo>
                  <a:pt x="2066226" y="2295220"/>
                </a:lnTo>
                <a:lnTo>
                  <a:pt x="2019312" y="2299157"/>
                </a:lnTo>
                <a:lnTo>
                  <a:pt x="1971713" y="2300478"/>
                </a:lnTo>
                <a:lnTo>
                  <a:pt x="1919643" y="2298890"/>
                </a:lnTo>
                <a:lnTo>
                  <a:pt x="1868424" y="2294178"/>
                </a:lnTo>
                <a:lnTo>
                  <a:pt x="1818132" y="2286444"/>
                </a:lnTo>
                <a:lnTo>
                  <a:pt x="1768881" y="2275776"/>
                </a:lnTo>
                <a:lnTo>
                  <a:pt x="1720748" y="2262263"/>
                </a:lnTo>
                <a:lnTo>
                  <a:pt x="1673834" y="2245995"/>
                </a:lnTo>
                <a:lnTo>
                  <a:pt x="1628228" y="2227084"/>
                </a:lnTo>
                <a:lnTo>
                  <a:pt x="1584020" y="2205609"/>
                </a:lnTo>
                <a:lnTo>
                  <a:pt x="1541310" y="2181669"/>
                </a:lnTo>
                <a:lnTo>
                  <a:pt x="1500174" y="2155355"/>
                </a:lnTo>
                <a:lnTo>
                  <a:pt x="1460728" y="2126754"/>
                </a:lnTo>
                <a:lnTo>
                  <a:pt x="1423047" y="2095969"/>
                </a:lnTo>
                <a:lnTo>
                  <a:pt x="1387233" y="2063089"/>
                </a:lnTo>
                <a:lnTo>
                  <a:pt x="1353362" y="2028215"/>
                </a:lnTo>
                <a:lnTo>
                  <a:pt x="1321549" y="1991423"/>
                </a:lnTo>
                <a:lnTo>
                  <a:pt x="1291869" y="1952815"/>
                </a:lnTo>
                <a:lnTo>
                  <a:pt x="710323" y="2199678"/>
                </a:lnTo>
                <a:lnTo>
                  <a:pt x="735545" y="2241105"/>
                </a:lnTo>
                <a:lnTo>
                  <a:pt x="762088" y="2281631"/>
                </a:lnTo>
                <a:lnTo>
                  <a:pt x="789927" y="2321191"/>
                </a:lnTo>
                <a:lnTo>
                  <a:pt x="819023" y="2359787"/>
                </a:lnTo>
                <a:lnTo>
                  <a:pt x="849337" y="2397366"/>
                </a:lnTo>
                <a:lnTo>
                  <a:pt x="880859" y="2433917"/>
                </a:lnTo>
                <a:lnTo>
                  <a:pt x="913561" y="2469400"/>
                </a:lnTo>
                <a:lnTo>
                  <a:pt x="947394" y="2503792"/>
                </a:lnTo>
                <a:lnTo>
                  <a:pt x="982332" y="2537041"/>
                </a:lnTo>
                <a:lnTo>
                  <a:pt x="1018349" y="2569146"/>
                </a:lnTo>
                <a:lnTo>
                  <a:pt x="1055420" y="2600071"/>
                </a:lnTo>
                <a:lnTo>
                  <a:pt x="1093520" y="2629776"/>
                </a:lnTo>
                <a:lnTo>
                  <a:pt x="1132611" y="2658224"/>
                </a:lnTo>
                <a:lnTo>
                  <a:pt x="1172654" y="2685402"/>
                </a:lnTo>
                <a:lnTo>
                  <a:pt x="1213637" y="2711285"/>
                </a:lnTo>
                <a:lnTo>
                  <a:pt x="1255509" y="2735821"/>
                </a:lnTo>
                <a:lnTo>
                  <a:pt x="1298270" y="2758986"/>
                </a:lnTo>
                <a:lnTo>
                  <a:pt x="1341856" y="2780766"/>
                </a:lnTo>
                <a:lnTo>
                  <a:pt x="1386268" y="2801124"/>
                </a:lnTo>
                <a:lnTo>
                  <a:pt x="1431455" y="2820009"/>
                </a:lnTo>
                <a:lnTo>
                  <a:pt x="1477403" y="2837421"/>
                </a:lnTo>
                <a:lnTo>
                  <a:pt x="1524063" y="2853321"/>
                </a:lnTo>
                <a:lnTo>
                  <a:pt x="1571434" y="2867660"/>
                </a:lnTo>
                <a:lnTo>
                  <a:pt x="1619453" y="2880436"/>
                </a:lnTo>
                <a:lnTo>
                  <a:pt x="1668106" y="2891599"/>
                </a:lnTo>
                <a:lnTo>
                  <a:pt x="1717370" y="2901137"/>
                </a:lnTo>
                <a:lnTo>
                  <a:pt x="1767217" y="2908998"/>
                </a:lnTo>
                <a:lnTo>
                  <a:pt x="1817598" y="2915170"/>
                </a:lnTo>
                <a:lnTo>
                  <a:pt x="1868487" y="2919615"/>
                </a:lnTo>
                <a:lnTo>
                  <a:pt x="1919871" y="2922295"/>
                </a:lnTo>
                <a:lnTo>
                  <a:pt x="1971713" y="2923197"/>
                </a:lnTo>
                <a:lnTo>
                  <a:pt x="2021674" y="2922359"/>
                </a:lnTo>
                <a:lnTo>
                  <a:pt x="2071204" y="2919869"/>
                </a:lnTo>
                <a:lnTo>
                  <a:pt x="2120303" y="2915742"/>
                </a:lnTo>
                <a:lnTo>
                  <a:pt x="2168918" y="2910001"/>
                </a:lnTo>
                <a:lnTo>
                  <a:pt x="2217039" y="2902699"/>
                </a:lnTo>
                <a:lnTo>
                  <a:pt x="2264626" y="2893834"/>
                </a:lnTo>
                <a:lnTo>
                  <a:pt x="2311654" y="2883446"/>
                </a:lnTo>
                <a:lnTo>
                  <a:pt x="2358110" y="2871571"/>
                </a:lnTo>
                <a:lnTo>
                  <a:pt x="2403957" y="2858211"/>
                </a:lnTo>
                <a:lnTo>
                  <a:pt x="2449157" y="2843415"/>
                </a:lnTo>
                <a:lnTo>
                  <a:pt x="2493708" y="2827197"/>
                </a:lnTo>
                <a:lnTo>
                  <a:pt x="2537574" y="2809595"/>
                </a:lnTo>
                <a:lnTo>
                  <a:pt x="2580716" y="2790621"/>
                </a:lnTo>
                <a:lnTo>
                  <a:pt x="2623121" y="2770314"/>
                </a:lnTo>
                <a:lnTo>
                  <a:pt x="2664764" y="2748699"/>
                </a:lnTo>
                <a:lnTo>
                  <a:pt x="2705595" y="2725801"/>
                </a:lnTo>
                <a:lnTo>
                  <a:pt x="2745625" y="2701645"/>
                </a:lnTo>
                <a:lnTo>
                  <a:pt x="2784792" y="2676258"/>
                </a:lnTo>
                <a:lnTo>
                  <a:pt x="2823095" y="2649664"/>
                </a:lnTo>
                <a:lnTo>
                  <a:pt x="2860484" y="2621902"/>
                </a:lnTo>
                <a:lnTo>
                  <a:pt x="2896946" y="2592984"/>
                </a:lnTo>
                <a:lnTo>
                  <a:pt x="2932468" y="2562949"/>
                </a:lnTo>
                <a:lnTo>
                  <a:pt x="2966986" y="2531808"/>
                </a:lnTo>
                <a:lnTo>
                  <a:pt x="3000514" y="2499601"/>
                </a:lnTo>
                <a:lnTo>
                  <a:pt x="3033001" y="2466352"/>
                </a:lnTo>
                <a:lnTo>
                  <a:pt x="3064421" y="2432100"/>
                </a:lnTo>
                <a:lnTo>
                  <a:pt x="3094761" y="2396845"/>
                </a:lnTo>
                <a:lnTo>
                  <a:pt x="3123984" y="2360625"/>
                </a:lnTo>
                <a:lnTo>
                  <a:pt x="3152063" y="2323477"/>
                </a:lnTo>
                <a:lnTo>
                  <a:pt x="3178962" y="2285415"/>
                </a:lnTo>
                <a:lnTo>
                  <a:pt x="3204680" y="2246477"/>
                </a:lnTo>
                <a:lnTo>
                  <a:pt x="3229178" y="2206675"/>
                </a:lnTo>
                <a:lnTo>
                  <a:pt x="3252419" y="2166048"/>
                </a:lnTo>
                <a:lnTo>
                  <a:pt x="3274377" y="2124621"/>
                </a:lnTo>
                <a:lnTo>
                  <a:pt x="3295053" y="2082419"/>
                </a:lnTo>
                <a:lnTo>
                  <a:pt x="3314382" y="2039467"/>
                </a:lnTo>
                <a:lnTo>
                  <a:pt x="3332365" y="1995792"/>
                </a:lnTo>
                <a:lnTo>
                  <a:pt x="3348964" y="1951431"/>
                </a:lnTo>
                <a:lnTo>
                  <a:pt x="3364153" y="1906384"/>
                </a:lnTo>
                <a:lnTo>
                  <a:pt x="3377908" y="1860715"/>
                </a:lnTo>
                <a:lnTo>
                  <a:pt x="3390188" y="1814423"/>
                </a:lnTo>
                <a:lnTo>
                  <a:pt x="3400996" y="1767535"/>
                </a:lnTo>
                <a:lnTo>
                  <a:pt x="3943426" y="1537271"/>
                </a:lnTo>
                <a:lnTo>
                  <a:pt x="3943426" y="82730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CAB9AEA-46ED-034F-B674-3819DD517D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21799" y="1037667"/>
            <a:ext cx="8130452" cy="1052596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fr-FR" sz="3800" b="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lvl="0">
              <a:spcBef>
                <a:spcPct val="0"/>
              </a:spcBef>
            </a:pPr>
            <a:r>
              <a:rPr lang="fr-FR"/>
              <a:t>Sommaire / Table of contents</a:t>
            </a:r>
          </a:p>
        </p:txBody>
      </p:sp>
      <p:sp>
        <p:nvSpPr>
          <p:cNvPr id="10" name="Espace réservé du contenu 9">
            <a:extLst>
              <a:ext uri="{FF2B5EF4-FFF2-40B4-BE49-F238E27FC236}">
                <a16:creationId xmlns:a16="http://schemas.microsoft.com/office/drawing/2014/main" id="{5FF97029-63A4-1C4A-91E3-6F632527E25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521799" y="2388212"/>
            <a:ext cx="8130452" cy="482309"/>
          </a:xfrm>
        </p:spPr>
        <p:txBody>
          <a:bodyPr wrap="square" anchor="ctr">
            <a:noAutofit/>
          </a:bodyPr>
          <a:lstStyle>
            <a:lvl1pPr marL="0" indent="0">
              <a:tabLst>
                <a:tab pos="438150" algn="l"/>
              </a:tabLst>
              <a:defRPr sz="2200" b="0"/>
            </a:lvl1pPr>
          </a:lstStyle>
          <a:p>
            <a:pPr lvl="0"/>
            <a:r>
              <a:rPr lang="fr-FR"/>
              <a:t>#.	[Tab]Item 1</a:t>
            </a:r>
          </a:p>
        </p:txBody>
      </p:sp>
      <p:sp>
        <p:nvSpPr>
          <p:cNvPr id="26" name="Espace réservé du contenu 9">
            <a:extLst>
              <a:ext uri="{FF2B5EF4-FFF2-40B4-BE49-F238E27FC236}">
                <a16:creationId xmlns:a16="http://schemas.microsoft.com/office/drawing/2014/main" id="{E05A4C53-5075-E34F-9634-A2DABE974B2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521799" y="2969571"/>
            <a:ext cx="8130452" cy="482309"/>
          </a:xfrm>
        </p:spPr>
        <p:txBody>
          <a:bodyPr wrap="square" anchor="ctr">
            <a:noAutofit/>
          </a:bodyPr>
          <a:lstStyle>
            <a:lvl1pPr marL="0" indent="0">
              <a:tabLst>
                <a:tab pos="438150" algn="l"/>
              </a:tabLst>
              <a:defRPr sz="2200" b="0"/>
            </a:lvl1pPr>
          </a:lstStyle>
          <a:p>
            <a:pPr lvl="0"/>
            <a:r>
              <a:rPr lang="fr-FR"/>
              <a:t>#.	[Tab]Item 2</a:t>
            </a:r>
          </a:p>
        </p:txBody>
      </p:sp>
      <p:sp>
        <p:nvSpPr>
          <p:cNvPr id="27" name="Espace réservé du contenu 9">
            <a:extLst>
              <a:ext uri="{FF2B5EF4-FFF2-40B4-BE49-F238E27FC236}">
                <a16:creationId xmlns:a16="http://schemas.microsoft.com/office/drawing/2014/main" id="{14DD4A63-2400-254C-BD3C-A9BD2073C87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521799" y="3550930"/>
            <a:ext cx="8130452" cy="482309"/>
          </a:xfrm>
        </p:spPr>
        <p:txBody>
          <a:bodyPr wrap="square" anchor="ctr">
            <a:noAutofit/>
          </a:bodyPr>
          <a:lstStyle>
            <a:lvl1pPr marL="0" indent="0">
              <a:tabLst>
                <a:tab pos="438150" algn="l"/>
              </a:tabLst>
              <a:defRPr sz="2200" b="0"/>
            </a:lvl1pPr>
          </a:lstStyle>
          <a:p>
            <a:pPr lvl="0"/>
            <a:r>
              <a:rPr lang="fr-FR"/>
              <a:t>#.	[Tab]Item 3</a:t>
            </a:r>
          </a:p>
        </p:txBody>
      </p:sp>
      <p:sp>
        <p:nvSpPr>
          <p:cNvPr id="28" name="Espace réservé du contenu 9">
            <a:extLst>
              <a:ext uri="{FF2B5EF4-FFF2-40B4-BE49-F238E27FC236}">
                <a16:creationId xmlns:a16="http://schemas.microsoft.com/office/drawing/2014/main" id="{1D2C5B3F-2F2F-9A40-81BC-A8C6781F9EB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521799" y="4132289"/>
            <a:ext cx="8130452" cy="482309"/>
          </a:xfrm>
        </p:spPr>
        <p:txBody>
          <a:bodyPr wrap="square" anchor="ctr">
            <a:noAutofit/>
          </a:bodyPr>
          <a:lstStyle>
            <a:lvl1pPr marL="0" indent="0">
              <a:tabLst>
                <a:tab pos="438150" algn="l"/>
              </a:tabLst>
              <a:defRPr sz="2200" b="0"/>
            </a:lvl1pPr>
          </a:lstStyle>
          <a:p>
            <a:pPr lvl="0"/>
            <a:r>
              <a:rPr lang="fr-FR"/>
              <a:t>#.	[Tab]Item 4</a:t>
            </a:r>
          </a:p>
        </p:txBody>
      </p:sp>
      <p:sp>
        <p:nvSpPr>
          <p:cNvPr id="29" name="Espace réservé du contenu 9">
            <a:extLst>
              <a:ext uri="{FF2B5EF4-FFF2-40B4-BE49-F238E27FC236}">
                <a16:creationId xmlns:a16="http://schemas.microsoft.com/office/drawing/2014/main" id="{480AF576-9F63-4141-A754-ECA6F6A8E3B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521799" y="4713648"/>
            <a:ext cx="8130452" cy="482309"/>
          </a:xfrm>
        </p:spPr>
        <p:txBody>
          <a:bodyPr wrap="square" anchor="ctr">
            <a:noAutofit/>
          </a:bodyPr>
          <a:lstStyle>
            <a:lvl1pPr marL="0" indent="0">
              <a:tabLst>
                <a:tab pos="438150" algn="l"/>
              </a:tabLst>
              <a:defRPr sz="2200" b="0"/>
            </a:lvl1pPr>
          </a:lstStyle>
          <a:p>
            <a:pPr lvl="0"/>
            <a:r>
              <a:rPr lang="fr-FR"/>
              <a:t>#.	[Tab]Item 5</a:t>
            </a:r>
          </a:p>
        </p:txBody>
      </p:sp>
      <p:sp>
        <p:nvSpPr>
          <p:cNvPr id="30" name="Espace réservé du contenu 9">
            <a:extLst>
              <a:ext uri="{FF2B5EF4-FFF2-40B4-BE49-F238E27FC236}">
                <a16:creationId xmlns:a16="http://schemas.microsoft.com/office/drawing/2014/main" id="{E016143F-9649-834B-AA9D-094EE771D5ED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21799" y="5295007"/>
            <a:ext cx="8130452" cy="482309"/>
          </a:xfrm>
        </p:spPr>
        <p:txBody>
          <a:bodyPr wrap="square" anchor="ctr">
            <a:noAutofit/>
          </a:bodyPr>
          <a:lstStyle>
            <a:lvl1pPr marL="0" indent="0">
              <a:tabLst>
                <a:tab pos="438150" algn="l"/>
              </a:tabLst>
              <a:defRPr sz="2200" b="0"/>
            </a:lvl1pPr>
          </a:lstStyle>
          <a:p>
            <a:pPr lvl="0"/>
            <a:r>
              <a:rPr lang="fr-FR"/>
              <a:t>#.	[Tab]Item 6</a:t>
            </a:r>
          </a:p>
        </p:txBody>
      </p:sp>
      <p:sp>
        <p:nvSpPr>
          <p:cNvPr id="13" name="Espace réservé du numéro de diapositive 18">
            <a:extLst>
              <a:ext uri="{FF2B5EF4-FFF2-40B4-BE49-F238E27FC236}">
                <a16:creationId xmlns:a16="http://schemas.microsoft.com/office/drawing/2014/main" id="{9D0A6386-A800-7944-B7A8-1EAF0152D3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fld id="{3B5A6716-DBF2-AF4C-9665-1BA53E8D7A19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7612701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. INTERCALAIRE-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5C0D79B3-B9A1-474C-8091-7E5EBC32F1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21799" y="2158952"/>
            <a:ext cx="8130451" cy="1582311"/>
          </a:xfrm>
          <a:noFill/>
        </p:spPr>
        <p:txBody>
          <a:bodyPr wrap="square" tIns="360000">
            <a:noAutofit/>
          </a:bodyPr>
          <a:lstStyle>
            <a:lvl1pPr>
              <a:defRPr sz="2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Sous-titre / Résumé</a:t>
            </a:r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id="{90C73A7F-3B52-DB4D-B343-81B2EEAF2557}"/>
              </a:ext>
            </a:extLst>
          </p:cNvPr>
          <p:cNvSpPr/>
          <p:nvPr userDrawn="1"/>
        </p:nvSpPr>
        <p:spPr>
          <a:xfrm>
            <a:off x="540000" y="759854"/>
            <a:ext cx="11113770" cy="0"/>
          </a:xfrm>
          <a:custGeom>
            <a:avLst/>
            <a:gdLst/>
            <a:ahLst/>
            <a:cxnLst/>
            <a:rect l="l" t="t" r="r" b="b"/>
            <a:pathLst>
              <a:path w="11113770">
                <a:moveTo>
                  <a:pt x="0" y="0"/>
                </a:moveTo>
                <a:lnTo>
                  <a:pt x="11113198" y="0"/>
                </a:lnTo>
              </a:path>
            </a:pathLst>
          </a:custGeom>
          <a:ln w="3175">
            <a:solidFill>
              <a:schemeClr val="bg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9958C6AA-0D04-5D4C-9725-11C53FE42E7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3560" y="542154"/>
            <a:ext cx="693329" cy="116315"/>
          </a:xfrm>
          <a:prstGeom prst="rect">
            <a:avLst/>
          </a:prstGeom>
        </p:spPr>
      </p:pic>
      <p:sp>
        <p:nvSpPr>
          <p:cNvPr id="15" name="object 5">
            <a:extLst>
              <a:ext uri="{FF2B5EF4-FFF2-40B4-BE49-F238E27FC236}">
                <a16:creationId xmlns:a16="http://schemas.microsoft.com/office/drawing/2014/main" id="{095C6BFC-00A6-704F-9032-B6766EC3CB9B}"/>
              </a:ext>
            </a:extLst>
          </p:cNvPr>
          <p:cNvSpPr/>
          <p:nvPr userDrawn="1"/>
        </p:nvSpPr>
        <p:spPr>
          <a:xfrm>
            <a:off x="11463642" y="539642"/>
            <a:ext cx="188608" cy="139808"/>
          </a:xfrm>
          <a:custGeom>
            <a:avLst/>
            <a:gdLst/>
            <a:ahLst/>
            <a:cxnLst/>
            <a:rect l="l" t="t" r="r" b="b"/>
            <a:pathLst>
              <a:path w="3943985" h="2923540">
                <a:moveTo>
                  <a:pt x="3233102" y="723531"/>
                </a:moveTo>
                <a:lnTo>
                  <a:pt x="3207880" y="682091"/>
                </a:lnTo>
                <a:lnTo>
                  <a:pt x="3181324" y="641578"/>
                </a:lnTo>
                <a:lnTo>
                  <a:pt x="3153499" y="602018"/>
                </a:lnTo>
                <a:lnTo>
                  <a:pt x="3124403" y="563422"/>
                </a:lnTo>
                <a:lnTo>
                  <a:pt x="3094075" y="525830"/>
                </a:lnTo>
                <a:lnTo>
                  <a:pt x="3062554" y="489280"/>
                </a:lnTo>
                <a:lnTo>
                  <a:pt x="3029864" y="453809"/>
                </a:lnTo>
                <a:lnTo>
                  <a:pt x="2996031" y="419417"/>
                </a:lnTo>
                <a:lnTo>
                  <a:pt x="2961094" y="386156"/>
                </a:lnTo>
                <a:lnTo>
                  <a:pt x="2925064" y="354050"/>
                </a:lnTo>
                <a:lnTo>
                  <a:pt x="2887992" y="323126"/>
                </a:lnTo>
                <a:lnTo>
                  <a:pt x="2849905" y="293433"/>
                </a:lnTo>
                <a:lnTo>
                  <a:pt x="2810814" y="264972"/>
                </a:lnTo>
                <a:lnTo>
                  <a:pt x="2770771" y="237794"/>
                </a:lnTo>
                <a:lnTo>
                  <a:pt x="2729788" y="211912"/>
                </a:lnTo>
                <a:lnTo>
                  <a:pt x="2687904" y="187375"/>
                </a:lnTo>
                <a:lnTo>
                  <a:pt x="2645156" y="164211"/>
                </a:lnTo>
                <a:lnTo>
                  <a:pt x="2601557" y="142430"/>
                </a:lnTo>
                <a:lnTo>
                  <a:pt x="2557157" y="122085"/>
                </a:lnTo>
                <a:lnTo>
                  <a:pt x="2511971" y="103187"/>
                </a:lnTo>
                <a:lnTo>
                  <a:pt x="2466022" y="85775"/>
                </a:lnTo>
                <a:lnTo>
                  <a:pt x="2419350" y="69875"/>
                </a:lnTo>
                <a:lnTo>
                  <a:pt x="2371991" y="55537"/>
                </a:lnTo>
                <a:lnTo>
                  <a:pt x="2323973" y="42760"/>
                </a:lnTo>
                <a:lnTo>
                  <a:pt x="2275306" y="31597"/>
                </a:lnTo>
                <a:lnTo>
                  <a:pt x="2226056" y="22059"/>
                </a:lnTo>
                <a:lnTo>
                  <a:pt x="2176208" y="14198"/>
                </a:lnTo>
                <a:lnTo>
                  <a:pt x="2125827" y="8026"/>
                </a:lnTo>
                <a:lnTo>
                  <a:pt x="2074938" y="3581"/>
                </a:lnTo>
                <a:lnTo>
                  <a:pt x="2023554" y="901"/>
                </a:lnTo>
                <a:lnTo>
                  <a:pt x="1971713" y="0"/>
                </a:lnTo>
                <a:lnTo>
                  <a:pt x="1921725" y="838"/>
                </a:lnTo>
                <a:lnTo>
                  <a:pt x="1872157" y="3340"/>
                </a:lnTo>
                <a:lnTo>
                  <a:pt x="1823034" y="7467"/>
                </a:lnTo>
                <a:lnTo>
                  <a:pt x="1774393" y="13208"/>
                </a:lnTo>
                <a:lnTo>
                  <a:pt x="1726247" y="20523"/>
                </a:lnTo>
                <a:lnTo>
                  <a:pt x="1678635" y="29400"/>
                </a:lnTo>
                <a:lnTo>
                  <a:pt x="1631569" y="39789"/>
                </a:lnTo>
                <a:lnTo>
                  <a:pt x="1585099" y="51689"/>
                </a:lnTo>
                <a:lnTo>
                  <a:pt x="1539227" y="65062"/>
                </a:lnTo>
                <a:lnTo>
                  <a:pt x="1493989" y="79870"/>
                </a:lnTo>
                <a:lnTo>
                  <a:pt x="1449425" y="96100"/>
                </a:lnTo>
                <a:lnTo>
                  <a:pt x="1405534" y="113728"/>
                </a:lnTo>
                <a:lnTo>
                  <a:pt x="1362367" y="132715"/>
                </a:lnTo>
                <a:lnTo>
                  <a:pt x="1319949" y="153047"/>
                </a:lnTo>
                <a:lnTo>
                  <a:pt x="1278293" y="174688"/>
                </a:lnTo>
                <a:lnTo>
                  <a:pt x="1237437" y="197612"/>
                </a:lnTo>
                <a:lnTo>
                  <a:pt x="1197394" y="221792"/>
                </a:lnTo>
                <a:lnTo>
                  <a:pt x="1158214" y="247218"/>
                </a:lnTo>
                <a:lnTo>
                  <a:pt x="1119898" y="273837"/>
                </a:lnTo>
                <a:lnTo>
                  <a:pt x="1082497" y="301625"/>
                </a:lnTo>
                <a:lnTo>
                  <a:pt x="1046022" y="330581"/>
                </a:lnTo>
                <a:lnTo>
                  <a:pt x="1010500" y="360641"/>
                </a:lnTo>
                <a:lnTo>
                  <a:pt x="975956" y="391820"/>
                </a:lnTo>
                <a:lnTo>
                  <a:pt x="942428" y="424053"/>
                </a:lnTo>
                <a:lnTo>
                  <a:pt x="909942" y="457339"/>
                </a:lnTo>
                <a:lnTo>
                  <a:pt x="878509" y="491629"/>
                </a:lnTo>
                <a:lnTo>
                  <a:pt x="848182" y="526923"/>
                </a:lnTo>
                <a:lnTo>
                  <a:pt x="818959" y="563181"/>
                </a:lnTo>
                <a:lnTo>
                  <a:pt x="790879" y="600367"/>
                </a:lnTo>
                <a:lnTo>
                  <a:pt x="763981" y="638467"/>
                </a:lnTo>
                <a:lnTo>
                  <a:pt x="738263" y="677443"/>
                </a:lnTo>
                <a:lnTo>
                  <a:pt x="713790" y="717283"/>
                </a:lnTo>
                <a:lnTo>
                  <a:pt x="690549" y="757948"/>
                </a:lnTo>
                <a:lnTo>
                  <a:pt x="668604" y="799414"/>
                </a:lnTo>
                <a:lnTo>
                  <a:pt x="647941" y="841654"/>
                </a:lnTo>
                <a:lnTo>
                  <a:pt x="628624" y="884643"/>
                </a:lnTo>
                <a:lnTo>
                  <a:pt x="610666" y="928370"/>
                </a:lnTo>
                <a:lnTo>
                  <a:pt x="594093" y="972769"/>
                </a:lnTo>
                <a:lnTo>
                  <a:pt x="578929" y="1017854"/>
                </a:lnTo>
                <a:lnTo>
                  <a:pt x="565200" y="1063574"/>
                </a:lnTo>
                <a:lnTo>
                  <a:pt x="552932" y="1109903"/>
                </a:lnTo>
                <a:lnTo>
                  <a:pt x="542163" y="1156830"/>
                </a:lnTo>
                <a:lnTo>
                  <a:pt x="0" y="1386954"/>
                </a:lnTo>
                <a:lnTo>
                  <a:pt x="0" y="2095906"/>
                </a:lnTo>
                <a:lnTo>
                  <a:pt x="1146073" y="1609420"/>
                </a:lnTo>
                <a:lnTo>
                  <a:pt x="1140396" y="1573161"/>
                </a:lnTo>
                <a:lnTo>
                  <a:pt x="1136243" y="1536433"/>
                </a:lnTo>
                <a:lnTo>
                  <a:pt x="1133690" y="1499247"/>
                </a:lnTo>
                <a:lnTo>
                  <a:pt x="1132814" y="1461617"/>
                </a:lnTo>
                <a:lnTo>
                  <a:pt x="1134148" y="1414005"/>
                </a:lnTo>
                <a:lnTo>
                  <a:pt x="1138085" y="1367104"/>
                </a:lnTo>
                <a:lnTo>
                  <a:pt x="1144549" y="1320965"/>
                </a:lnTo>
                <a:lnTo>
                  <a:pt x="1153502" y="1275664"/>
                </a:lnTo>
                <a:lnTo>
                  <a:pt x="1164831" y="1231265"/>
                </a:lnTo>
                <a:lnTo>
                  <a:pt x="1178496" y="1187856"/>
                </a:lnTo>
                <a:lnTo>
                  <a:pt x="1194422" y="1145489"/>
                </a:lnTo>
                <a:lnTo>
                  <a:pt x="1212519" y="1104252"/>
                </a:lnTo>
                <a:lnTo>
                  <a:pt x="1232738" y="1064196"/>
                </a:lnTo>
                <a:lnTo>
                  <a:pt x="1254988" y="1025423"/>
                </a:lnTo>
                <a:lnTo>
                  <a:pt x="1279220" y="987971"/>
                </a:lnTo>
                <a:lnTo>
                  <a:pt x="1305356" y="951915"/>
                </a:lnTo>
                <a:lnTo>
                  <a:pt x="1333309" y="917346"/>
                </a:lnTo>
                <a:lnTo>
                  <a:pt x="1363027" y="884326"/>
                </a:lnTo>
                <a:lnTo>
                  <a:pt x="1394434" y="852919"/>
                </a:lnTo>
                <a:lnTo>
                  <a:pt x="1427454" y="823201"/>
                </a:lnTo>
                <a:lnTo>
                  <a:pt x="1462024" y="795248"/>
                </a:lnTo>
                <a:lnTo>
                  <a:pt x="1498079" y="769112"/>
                </a:lnTo>
                <a:lnTo>
                  <a:pt x="1535518" y="744893"/>
                </a:lnTo>
                <a:lnTo>
                  <a:pt x="1574304" y="722630"/>
                </a:lnTo>
                <a:lnTo>
                  <a:pt x="1614360" y="702411"/>
                </a:lnTo>
                <a:lnTo>
                  <a:pt x="1655597" y="684314"/>
                </a:lnTo>
                <a:lnTo>
                  <a:pt x="1697951" y="668401"/>
                </a:lnTo>
                <a:lnTo>
                  <a:pt x="1741373" y="654735"/>
                </a:lnTo>
                <a:lnTo>
                  <a:pt x="1785759" y="643394"/>
                </a:lnTo>
                <a:lnTo>
                  <a:pt x="1831060" y="634453"/>
                </a:lnTo>
                <a:lnTo>
                  <a:pt x="1877199" y="627976"/>
                </a:lnTo>
                <a:lnTo>
                  <a:pt x="1924113" y="624039"/>
                </a:lnTo>
                <a:lnTo>
                  <a:pt x="1971713" y="622719"/>
                </a:lnTo>
                <a:lnTo>
                  <a:pt x="2023783" y="624306"/>
                </a:lnTo>
                <a:lnTo>
                  <a:pt x="2075002" y="629018"/>
                </a:lnTo>
                <a:lnTo>
                  <a:pt x="2125281" y="636752"/>
                </a:lnTo>
                <a:lnTo>
                  <a:pt x="2174532" y="647420"/>
                </a:lnTo>
                <a:lnTo>
                  <a:pt x="2222665" y="660933"/>
                </a:lnTo>
                <a:lnTo>
                  <a:pt x="2269579" y="677202"/>
                </a:lnTo>
                <a:lnTo>
                  <a:pt x="2315184" y="696112"/>
                </a:lnTo>
                <a:lnTo>
                  <a:pt x="2359393" y="717588"/>
                </a:lnTo>
                <a:lnTo>
                  <a:pt x="2402103" y="741527"/>
                </a:lnTo>
                <a:lnTo>
                  <a:pt x="2443238" y="767842"/>
                </a:lnTo>
                <a:lnTo>
                  <a:pt x="2482685" y="796442"/>
                </a:lnTo>
                <a:lnTo>
                  <a:pt x="2520365" y="827227"/>
                </a:lnTo>
                <a:lnTo>
                  <a:pt x="2556179" y="860107"/>
                </a:lnTo>
                <a:lnTo>
                  <a:pt x="2590050" y="894981"/>
                </a:lnTo>
                <a:lnTo>
                  <a:pt x="2621864" y="931773"/>
                </a:lnTo>
                <a:lnTo>
                  <a:pt x="2651544" y="970381"/>
                </a:lnTo>
                <a:lnTo>
                  <a:pt x="3233102" y="723531"/>
                </a:lnTo>
                <a:close/>
              </a:path>
              <a:path w="3943985" h="2923540">
                <a:moveTo>
                  <a:pt x="3943426" y="827303"/>
                </a:moveTo>
                <a:lnTo>
                  <a:pt x="2797352" y="1313776"/>
                </a:lnTo>
                <a:lnTo>
                  <a:pt x="2803029" y="1350035"/>
                </a:lnTo>
                <a:lnTo>
                  <a:pt x="2807182" y="1386776"/>
                </a:lnTo>
                <a:lnTo>
                  <a:pt x="2809735" y="1423962"/>
                </a:lnTo>
                <a:lnTo>
                  <a:pt x="2810599" y="1461604"/>
                </a:lnTo>
                <a:lnTo>
                  <a:pt x="2809265" y="1509217"/>
                </a:lnTo>
                <a:lnTo>
                  <a:pt x="2805328" y="1556118"/>
                </a:lnTo>
                <a:lnTo>
                  <a:pt x="2798864" y="1602257"/>
                </a:lnTo>
                <a:lnTo>
                  <a:pt x="2789910" y="1647558"/>
                </a:lnTo>
                <a:lnTo>
                  <a:pt x="2778582" y="1691944"/>
                </a:lnTo>
                <a:lnTo>
                  <a:pt x="2764917" y="1735353"/>
                </a:lnTo>
                <a:lnTo>
                  <a:pt x="2749004" y="1777720"/>
                </a:lnTo>
                <a:lnTo>
                  <a:pt x="2730893" y="1818957"/>
                </a:lnTo>
                <a:lnTo>
                  <a:pt x="2710675" y="1859000"/>
                </a:lnTo>
                <a:lnTo>
                  <a:pt x="2688425" y="1897786"/>
                </a:lnTo>
                <a:lnTo>
                  <a:pt x="2664193" y="1935238"/>
                </a:lnTo>
                <a:lnTo>
                  <a:pt x="2638069" y="1971281"/>
                </a:lnTo>
                <a:lnTo>
                  <a:pt x="2610104" y="2005850"/>
                </a:lnTo>
                <a:lnTo>
                  <a:pt x="2580386" y="2038870"/>
                </a:lnTo>
                <a:lnTo>
                  <a:pt x="2548991" y="2070277"/>
                </a:lnTo>
                <a:lnTo>
                  <a:pt x="2515959" y="2099995"/>
                </a:lnTo>
                <a:lnTo>
                  <a:pt x="2481389" y="2127948"/>
                </a:lnTo>
                <a:lnTo>
                  <a:pt x="2445347" y="2154085"/>
                </a:lnTo>
                <a:lnTo>
                  <a:pt x="2407894" y="2178304"/>
                </a:lnTo>
                <a:lnTo>
                  <a:pt x="2369108" y="2200567"/>
                </a:lnTo>
                <a:lnTo>
                  <a:pt x="2329065" y="2220785"/>
                </a:lnTo>
                <a:lnTo>
                  <a:pt x="2287828" y="2238883"/>
                </a:lnTo>
                <a:lnTo>
                  <a:pt x="2245461" y="2254796"/>
                </a:lnTo>
                <a:lnTo>
                  <a:pt x="2202053" y="2268461"/>
                </a:lnTo>
                <a:lnTo>
                  <a:pt x="2157666" y="2279802"/>
                </a:lnTo>
                <a:lnTo>
                  <a:pt x="2112365" y="2288743"/>
                </a:lnTo>
                <a:lnTo>
                  <a:pt x="2066226" y="2295220"/>
                </a:lnTo>
                <a:lnTo>
                  <a:pt x="2019312" y="2299157"/>
                </a:lnTo>
                <a:lnTo>
                  <a:pt x="1971713" y="2300478"/>
                </a:lnTo>
                <a:lnTo>
                  <a:pt x="1919643" y="2298890"/>
                </a:lnTo>
                <a:lnTo>
                  <a:pt x="1868424" y="2294178"/>
                </a:lnTo>
                <a:lnTo>
                  <a:pt x="1818132" y="2286444"/>
                </a:lnTo>
                <a:lnTo>
                  <a:pt x="1768881" y="2275776"/>
                </a:lnTo>
                <a:lnTo>
                  <a:pt x="1720748" y="2262263"/>
                </a:lnTo>
                <a:lnTo>
                  <a:pt x="1673834" y="2245995"/>
                </a:lnTo>
                <a:lnTo>
                  <a:pt x="1628228" y="2227084"/>
                </a:lnTo>
                <a:lnTo>
                  <a:pt x="1584020" y="2205609"/>
                </a:lnTo>
                <a:lnTo>
                  <a:pt x="1541310" y="2181669"/>
                </a:lnTo>
                <a:lnTo>
                  <a:pt x="1500174" y="2155355"/>
                </a:lnTo>
                <a:lnTo>
                  <a:pt x="1460728" y="2126754"/>
                </a:lnTo>
                <a:lnTo>
                  <a:pt x="1423047" y="2095969"/>
                </a:lnTo>
                <a:lnTo>
                  <a:pt x="1387233" y="2063089"/>
                </a:lnTo>
                <a:lnTo>
                  <a:pt x="1353362" y="2028215"/>
                </a:lnTo>
                <a:lnTo>
                  <a:pt x="1321549" y="1991423"/>
                </a:lnTo>
                <a:lnTo>
                  <a:pt x="1291869" y="1952815"/>
                </a:lnTo>
                <a:lnTo>
                  <a:pt x="710323" y="2199678"/>
                </a:lnTo>
                <a:lnTo>
                  <a:pt x="735545" y="2241105"/>
                </a:lnTo>
                <a:lnTo>
                  <a:pt x="762088" y="2281631"/>
                </a:lnTo>
                <a:lnTo>
                  <a:pt x="789927" y="2321191"/>
                </a:lnTo>
                <a:lnTo>
                  <a:pt x="819023" y="2359787"/>
                </a:lnTo>
                <a:lnTo>
                  <a:pt x="849337" y="2397366"/>
                </a:lnTo>
                <a:lnTo>
                  <a:pt x="880859" y="2433917"/>
                </a:lnTo>
                <a:lnTo>
                  <a:pt x="913561" y="2469400"/>
                </a:lnTo>
                <a:lnTo>
                  <a:pt x="947394" y="2503792"/>
                </a:lnTo>
                <a:lnTo>
                  <a:pt x="982332" y="2537041"/>
                </a:lnTo>
                <a:lnTo>
                  <a:pt x="1018349" y="2569146"/>
                </a:lnTo>
                <a:lnTo>
                  <a:pt x="1055420" y="2600071"/>
                </a:lnTo>
                <a:lnTo>
                  <a:pt x="1093520" y="2629776"/>
                </a:lnTo>
                <a:lnTo>
                  <a:pt x="1132611" y="2658224"/>
                </a:lnTo>
                <a:lnTo>
                  <a:pt x="1172654" y="2685402"/>
                </a:lnTo>
                <a:lnTo>
                  <a:pt x="1213637" y="2711285"/>
                </a:lnTo>
                <a:lnTo>
                  <a:pt x="1255509" y="2735821"/>
                </a:lnTo>
                <a:lnTo>
                  <a:pt x="1298270" y="2758986"/>
                </a:lnTo>
                <a:lnTo>
                  <a:pt x="1341856" y="2780766"/>
                </a:lnTo>
                <a:lnTo>
                  <a:pt x="1386268" y="2801124"/>
                </a:lnTo>
                <a:lnTo>
                  <a:pt x="1431455" y="2820009"/>
                </a:lnTo>
                <a:lnTo>
                  <a:pt x="1477403" y="2837421"/>
                </a:lnTo>
                <a:lnTo>
                  <a:pt x="1524063" y="2853321"/>
                </a:lnTo>
                <a:lnTo>
                  <a:pt x="1571434" y="2867660"/>
                </a:lnTo>
                <a:lnTo>
                  <a:pt x="1619453" y="2880436"/>
                </a:lnTo>
                <a:lnTo>
                  <a:pt x="1668106" y="2891599"/>
                </a:lnTo>
                <a:lnTo>
                  <a:pt x="1717370" y="2901137"/>
                </a:lnTo>
                <a:lnTo>
                  <a:pt x="1767217" y="2908998"/>
                </a:lnTo>
                <a:lnTo>
                  <a:pt x="1817598" y="2915170"/>
                </a:lnTo>
                <a:lnTo>
                  <a:pt x="1868487" y="2919615"/>
                </a:lnTo>
                <a:lnTo>
                  <a:pt x="1919871" y="2922295"/>
                </a:lnTo>
                <a:lnTo>
                  <a:pt x="1971713" y="2923197"/>
                </a:lnTo>
                <a:lnTo>
                  <a:pt x="2021674" y="2922359"/>
                </a:lnTo>
                <a:lnTo>
                  <a:pt x="2071204" y="2919869"/>
                </a:lnTo>
                <a:lnTo>
                  <a:pt x="2120303" y="2915742"/>
                </a:lnTo>
                <a:lnTo>
                  <a:pt x="2168918" y="2910001"/>
                </a:lnTo>
                <a:lnTo>
                  <a:pt x="2217039" y="2902699"/>
                </a:lnTo>
                <a:lnTo>
                  <a:pt x="2264626" y="2893834"/>
                </a:lnTo>
                <a:lnTo>
                  <a:pt x="2311654" y="2883446"/>
                </a:lnTo>
                <a:lnTo>
                  <a:pt x="2358110" y="2871571"/>
                </a:lnTo>
                <a:lnTo>
                  <a:pt x="2403957" y="2858211"/>
                </a:lnTo>
                <a:lnTo>
                  <a:pt x="2449157" y="2843415"/>
                </a:lnTo>
                <a:lnTo>
                  <a:pt x="2493708" y="2827197"/>
                </a:lnTo>
                <a:lnTo>
                  <a:pt x="2537574" y="2809595"/>
                </a:lnTo>
                <a:lnTo>
                  <a:pt x="2580716" y="2790621"/>
                </a:lnTo>
                <a:lnTo>
                  <a:pt x="2623121" y="2770314"/>
                </a:lnTo>
                <a:lnTo>
                  <a:pt x="2664764" y="2748699"/>
                </a:lnTo>
                <a:lnTo>
                  <a:pt x="2705595" y="2725801"/>
                </a:lnTo>
                <a:lnTo>
                  <a:pt x="2745625" y="2701645"/>
                </a:lnTo>
                <a:lnTo>
                  <a:pt x="2784792" y="2676258"/>
                </a:lnTo>
                <a:lnTo>
                  <a:pt x="2823095" y="2649664"/>
                </a:lnTo>
                <a:lnTo>
                  <a:pt x="2860484" y="2621902"/>
                </a:lnTo>
                <a:lnTo>
                  <a:pt x="2896946" y="2592984"/>
                </a:lnTo>
                <a:lnTo>
                  <a:pt x="2932468" y="2562949"/>
                </a:lnTo>
                <a:lnTo>
                  <a:pt x="2966986" y="2531808"/>
                </a:lnTo>
                <a:lnTo>
                  <a:pt x="3000514" y="2499601"/>
                </a:lnTo>
                <a:lnTo>
                  <a:pt x="3033001" y="2466352"/>
                </a:lnTo>
                <a:lnTo>
                  <a:pt x="3064421" y="2432100"/>
                </a:lnTo>
                <a:lnTo>
                  <a:pt x="3094761" y="2396845"/>
                </a:lnTo>
                <a:lnTo>
                  <a:pt x="3123984" y="2360625"/>
                </a:lnTo>
                <a:lnTo>
                  <a:pt x="3152063" y="2323477"/>
                </a:lnTo>
                <a:lnTo>
                  <a:pt x="3178962" y="2285415"/>
                </a:lnTo>
                <a:lnTo>
                  <a:pt x="3204680" y="2246477"/>
                </a:lnTo>
                <a:lnTo>
                  <a:pt x="3229178" y="2206675"/>
                </a:lnTo>
                <a:lnTo>
                  <a:pt x="3252419" y="2166048"/>
                </a:lnTo>
                <a:lnTo>
                  <a:pt x="3274377" y="2124621"/>
                </a:lnTo>
                <a:lnTo>
                  <a:pt x="3295053" y="2082419"/>
                </a:lnTo>
                <a:lnTo>
                  <a:pt x="3314382" y="2039467"/>
                </a:lnTo>
                <a:lnTo>
                  <a:pt x="3332365" y="1995792"/>
                </a:lnTo>
                <a:lnTo>
                  <a:pt x="3348964" y="1951431"/>
                </a:lnTo>
                <a:lnTo>
                  <a:pt x="3364153" y="1906384"/>
                </a:lnTo>
                <a:lnTo>
                  <a:pt x="3377908" y="1860715"/>
                </a:lnTo>
                <a:lnTo>
                  <a:pt x="3390188" y="1814423"/>
                </a:lnTo>
                <a:lnTo>
                  <a:pt x="3400996" y="1767535"/>
                </a:lnTo>
                <a:lnTo>
                  <a:pt x="3943426" y="1537271"/>
                </a:lnTo>
                <a:lnTo>
                  <a:pt x="3943426" y="82730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Titre 16">
            <a:extLst>
              <a:ext uri="{FF2B5EF4-FFF2-40B4-BE49-F238E27FC236}">
                <a16:creationId xmlns:a16="http://schemas.microsoft.com/office/drawing/2014/main" id="{5B45F392-194C-204C-A486-157BB5A268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21801" y="1029341"/>
            <a:ext cx="8130449" cy="1088081"/>
          </a:xfrm>
        </p:spPr>
        <p:txBody>
          <a:bodyPr wrap="square">
            <a:noAutofit/>
          </a:bodyPr>
          <a:lstStyle>
            <a:lvl1pPr>
              <a:defRPr b="0">
                <a:solidFill>
                  <a:schemeClr val="accent3"/>
                </a:solidFill>
              </a:defRPr>
            </a:lvl1pPr>
          </a:lstStyle>
          <a:p>
            <a:r>
              <a:rPr lang="fr-FR"/>
              <a:t>Titre de partie</a:t>
            </a:r>
          </a:p>
        </p:txBody>
      </p:sp>
      <p:sp>
        <p:nvSpPr>
          <p:cNvPr id="9" name="Espace réservé du numéro de diapositive 18">
            <a:extLst>
              <a:ext uri="{FF2B5EF4-FFF2-40B4-BE49-F238E27FC236}">
                <a16:creationId xmlns:a16="http://schemas.microsoft.com/office/drawing/2014/main" id="{18CFA8D8-690B-EB42-B30B-AB9B4EDB57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fld id="{3B5A6716-DBF2-AF4C-9665-1BA53E8D7A19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7354702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. INTERCALAIRE-chapitre-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E402D0AA-FA02-C344-83CA-7F1003DB07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90025" y="542154"/>
            <a:ext cx="693329" cy="116315"/>
          </a:xfrm>
          <a:prstGeom prst="rect">
            <a:avLst/>
          </a:prstGeom>
        </p:spPr>
      </p:pic>
      <p:sp>
        <p:nvSpPr>
          <p:cNvPr id="8" name="object 5">
            <a:extLst>
              <a:ext uri="{FF2B5EF4-FFF2-40B4-BE49-F238E27FC236}">
                <a16:creationId xmlns:a16="http://schemas.microsoft.com/office/drawing/2014/main" id="{2E882F41-486D-F143-97E8-5403A12FAE3D}"/>
              </a:ext>
            </a:extLst>
          </p:cNvPr>
          <p:cNvSpPr/>
          <p:nvPr userDrawn="1"/>
        </p:nvSpPr>
        <p:spPr>
          <a:xfrm>
            <a:off x="11463642" y="539642"/>
            <a:ext cx="188608" cy="139808"/>
          </a:xfrm>
          <a:custGeom>
            <a:avLst/>
            <a:gdLst/>
            <a:ahLst/>
            <a:cxnLst/>
            <a:rect l="l" t="t" r="r" b="b"/>
            <a:pathLst>
              <a:path w="3943985" h="2923540">
                <a:moveTo>
                  <a:pt x="3233102" y="723531"/>
                </a:moveTo>
                <a:lnTo>
                  <a:pt x="3207880" y="682091"/>
                </a:lnTo>
                <a:lnTo>
                  <a:pt x="3181324" y="641578"/>
                </a:lnTo>
                <a:lnTo>
                  <a:pt x="3153499" y="602018"/>
                </a:lnTo>
                <a:lnTo>
                  <a:pt x="3124403" y="563422"/>
                </a:lnTo>
                <a:lnTo>
                  <a:pt x="3094075" y="525830"/>
                </a:lnTo>
                <a:lnTo>
                  <a:pt x="3062554" y="489280"/>
                </a:lnTo>
                <a:lnTo>
                  <a:pt x="3029864" y="453809"/>
                </a:lnTo>
                <a:lnTo>
                  <a:pt x="2996031" y="419417"/>
                </a:lnTo>
                <a:lnTo>
                  <a:pt x="2961094" y="386156"/>
                </a:lnTo>
                <a:lnTo>
                  <a:pt x="2925064" y="354050"/>
                </a:lnTo>
                <a:lnTo>
                  <a:pt x="2887992" y="323126"/>
                </a:lnTo>
                <a:lnTo>
                  <a:pt x="2849905" y="293433"/>
                </a:lnTo>
                <a:lnTo>
                  <a:pt x="2810814" y="264972"/>
                </a:lnTo>
                <a:lnTo>
                  <a:pt x="2770771" y="237794"/>
                </a:lnTo>
                <a:lnTo>
                  <a:pt x="2729788" y="211912"/>
                </a:lnTo>
                <a:lnTo>
                  <a:pt x="2687904" y="187375"/>
                </a:lnTo>
                <a:lnTo>
                  <a:pt x="2645156" y="164211"/>
                </a:lnTo>
                <a:lnTo>
                  <a:pt x="2601557" y="142430"/>
                </a:lnTo>
                <a:lnTo>
                  <a:pt x="2557157" y="122085"/>
                </a:lnTo>
                <a:lnTo>
                  <a:pt x="2511971" y="103187"/>
                </a:lnTo>
                <a:lnTo>
                  <a:pt x="2466022" y="85775"/>
                </a:lnTo>
                <a:lnTo>
                  <a:pt x="2419350" y="69875"/>
                </a:lnTo>
                <a:lnTo>
                  <a:pt x="2371991" y="55537"/>
                </a:lnTo>
                <a:lnTo>
                  <a:pt x="2323973" y="42760"/>
                </a:lnTo>
                <a:lnTo>
                  <a:pt x="2275306" y="31597"/>
                </a:lnTo>
                <a:lnTo>
                  <a:pt x="2226056" y="22059"/>
                </a:lnTo>
                <a:lnTo>
                  <a:pt x="2176208" y="14198"/>
                </a:lnTo>
                <a:lnTo>
                  <a:pt x="2125827" y="8026"/>
                </a:lnTo>
                <a:lnTo>
                  <a:pt x="2074938" y="3581"/>
                </a:lnTo>
                <a:lnTo>
                  <a:pt x="2023554" y="901"/>
                </a:lnTo>
                <a:lnTo>
                  <a:pt x="1971713" y="0"/>
                </a:lnTo>
                <a:lnTo>
                  <a:pt x="1921725" y="838"/>
                </a:lnTo>
                <a:lnTo>
                  <a:pt x="1872157" y="3340"/>
                </a:lnTo>
                <a:lnTo>
                  <a:pt x="1823034" y="7467"/>
                </a:lnTo>
                <a:lnTo>
                  <a:pt x="1774393" y="13208"/>
                </a:lnTo>
                <a:lnTo>
                  <a:pt x="1726247" y="20523"/>
                </a:lnTo>
                <a:lnTo>
                  <a:pt x="1678635" y="29400"/>
                </a:lnTo>
                <a:lnTo>
                  <a:pt x="1631569" y="39789"/>
                </a:lnTo>
                <a:lnTo>
                  <a:pt x="1585099" y="51689"/>
                </a:lnTo>
                <a:lnTo>
                  <a:pt x="1539227" y="65062"/>
                </a:lnTo>
                <a:lnTo>
                  <a:pt x="1493989" y="79870"/>
                </a:lnTo>
                <a:lnTo>
                  <a:pt x="1449425" y="96100"/>
                </a:lnTo>
                <a:lnTo>
                  <a:pt x="1405534" y="113728"/>
                </a:lnTo>
                <a:lnTo>
                  <a:pt x="1362367" y="132715"/>
                </a:lnTo>
                <a:lnTo>
                  <a:pt x="1319949" y="153047"/>
                </a:lnTo>
                <a:lnTo>
                  <a:pt x="1278293" y="174688"/>
                </a:lnTo>
                <a:lnTo>
                  <a:pt x="1237437" y="197612"/>
                </a:lnTo>
                <a:lnTo>
                  <a:pt x="1197394" y="221792"/>
                </a:lnTo>
                <a:lnTo>
                  <a:pt x="1158214" y="247218"/>
                </a:lnTo>
                <a:lnTo>
                  <a:pt x="1119898" y="273837"/>
                </a:lnTo>
                <a:lnTo>
                  <a:pt x="1082497" y="301625"/>
                </a:lnTo>
                <a:lnTo>
                  <a:pt x="1046022" y="330581"/>
                </a:lnTo>
                <a:lnTo>
                  <a:pt x="1010500" y="360641"/>
                </a:lnTo>
                <a:lnTo>
                  <a:pt x="975956" y="391820"/>
                </a:lnTo>
                <a:lnTo>
                  <a:pt x="942428" y="424053"/>
                </a:lnTo>
                <a:lnTo>
                  <a:pt x="909942" y="457339"/>
                </a:lnTo>
                <a:lnTo>
                  <a:pt x="878509" y="491629"/>
                </a:lnTo>
                <a:lnTo>
                  <a:pt x="848182" y="526923"/>
                </a:lnTo>
                <a:lnTo>
                  <a:pt x="818959" y="563181"/>
                </a:lnTo>
                <a:lnTo>
                  <a:pt x="790879" y="600367"/>
                </a:lnTo>
                <a:lnTo>
                  <a:pt x="763981" y="638467"/>
                </a:lnTo>
                <a:lnTo>
                  <a:pt x="738263" y="677443"/>
                </a:lnTo>
                <a:lnTo>
                  <a:pt x="713790" y="717283"/>
                </a:lnTo>
                <a:lnTo>
                  <a:pt x="690549" y="757948"/>
                </a:lnTo>
                <a:lnTo>
                  <a:pt x="668604" y="799414"/>
                </a:lnTo>
                <a:lnTo>
                  <a:pt x="647941" y="841654"/>
                </a:lnTo>
                <a:lnTo>
                  <a:pt x="628624" y="884643"/>
                </a:lnTo>
                <a:lnTo>
                  <a:pt x="610666" y="928370"/>
                </a:lnTo>
                <a:lnTo>
                  <a:pt x="594093" y="972769"/>
                </a:lnTo>
                <a:lnTo>
                  <a:pt x="578929" y="1017854"/>
                </a:lnTo>
                <a:lnTo>
                  <a:pt x="565200" y="1063574"/>
                </a:lnTo>
                <a:lnTo>
                  <a:pt x="552932" y="1109903"/>
                </a:lnTo>
                <a:lnTo>
                  <a:pt x="542163" y="1156830"/>
                </a:lnTo>
                <a:lnTo>
                  <a:pt x="0" y="1386954"/>
                </a:lnTo>
                <a:lnTo>
                  <a:pt x="0" y="2095906"/>
                </a:lnTo>
                <a:lnTo>
                  <a:pt x="1146073" y="1609420"/>
                </a:lnTo>
                <a:lnTo>
                  <a:pt x="1140396" y="1573161"/>
                </a:lnTo>
                <a:lnTo>
                  <a:pt x="1136243" y="1536433"/>
                </a:lnTo>
                <a:lnTo>
                  <a:pt x="1133690" y="1499247"/>
                </a:lnTo>
                <a:lnTo>
                  <a:pt x="1132814" y="1461617"/>
                </a:lnTo>
                <a:lnTo>
                  <a:pt x="1134148" y="1414005"/>
                </a:lnTo>
                <a:lnTo>
                  <a:pt x="1138085" y="1367104"/>
                </a:lnTo>
                <a:lnTo>
                  <a:pt x="1144549" y="1320965"/>
                </a:lnTo>
                <a:lnTo>
                  <a:pt x="1153502" y="1275664"/>
                </a:lnTo>
                <a:lnTo>
                  <a:pt x="1164831" y="1231265"/>
                </a:lnTo>
                <a:lnTo>
                  <a:pt x="1178496" y="1187856"/>
                </a:lnTo>
                <a:lnTo>
                  <a:pt x="1194422" y="1145489"/>
                </a:lnTo>
                <a:lnTo>
                  <a:pt x="1212519" y="1104252"/>
                </a:lnTo>
                <a:lnTo>
                  <a:pt x="1232738" y="1064196"/>
                </a:lnTo>
                <a:lnTo>
                  <a:pt x="1254988" y="1025423"/>
                </a:lnTo>
                <a:lnTo>
                  <a:pt x="1279220" y="987971"/>
                </a:lnTo>
                <a:lnTo>
                  <a:pt x="1305356" y="951915"/>
                </a:lnTo>
                <a:lnTo>
                  <a:pt x="1333309" y="917346"/>
                </a:lnTo>
                <a:lnTo>
                  <a:pt x="1363027" y="884326"/>
                </a:lnTo>
                <a:lnTo>
                  <a:pt x="1394434" y="852919"/>
                </a:lnTo>
                <a:lnTo>
                  <a:pt x="1427454" y="823201"/>
                </a:lnTo>
                <a:lnTo>
                  <a:pt x="1462024" y="795248"/>
                </a:lnTo>
                <a:lnTo>
                  <a:pt x="1498079" y="769112"/>
                </a:lnTo>
                <a:lnTo>
                  <a:pt x="1535518" y="744893"/>
                </a:lnTo>
                <a:lnTo>
                  <a:pt x="1574304" y="722630"/>
                </a:lnTo>
                <a:lnTo>
                  <a:pt x="1614360" y="702411"/>
                </a:lnTo>
                <a:lnTo>
                  <a:pt x="1655597" y="684314"/>
                </a:lnTo>
                <a:lnTo>
                  <a:pt x="1697951" y="668401"/>
                </a:lnTo>
                <a:lnTo>
                  <a:pt x="1741373" y="654735"/>
                </a:lnTo>
                <a:lnTo>
                  <a:pt x="1785759" y="643394"/>
                </a:lnTo>
                <a:lnTo>
                  <a:pt x="1831060" y="634453"/>
                </a:lnTo>
                <a:lnTo>
                  <a:pt x="1877199" y="627976"/>
                </a:lnTo>
                <a:lnTo>
                  <a:pt x="1924113" y="624039"/>
                </a:lnTo>
                <a:lnTo>
                  <a:pt x="1971713" y="622719"/>
                </a:lnTo>
                <a:lnTo>
                  <a:pt x="2023783" y="624306"/>
                </a:lnTo>
                <a:lnTo>
                  <a:pt x="2075002" y="629018"/>
                </a:lnTo>
                <a:lnTo>
                  <a:pt x="2125281" y="636752"/>
                </a:lnTo>
                <a:lnTo>
                  <a:pt x="2174532" y="647420"/>
                </a:lnTo>
                <a:lnTo>
                  <a:pt x="2222665" y="660933"/>
                </a:lnTo>
                <a:lnTo>
                  <a:pt x="2269579" y="677202"/>
                </a:lnTo>
                <a:lnTo>
                  <a:pt x="2315184" y="696112"/>
                </a:lnTo>
                <a:lnTo>
                  <a:pt x="2359393" y="717588"/>
                </a:lnTo>
                <a:lnTo>
                  <a:pt x="2402103" y="741527"/>
                </a:lnTo>
                <a:lnTo>
                  <a:pt x="2443238" y="767842"/>
                </a:lnTo>
                <a:lnTo>
                  <a:pt x="2482685" y="796442"/>
                </a:lnTo>
                <a:lnTo>
                  <a:pt x="2520365" y="827227"/>
                </a:lnTo>
                <a:lnTo>
                  <a:pt x="2556179" y="860107"/>
                </a:lnTo>
                <a:lnTo>
                  <a:pt x="2590050" y="894981"/>
                </a:lnTo>
                <a:lnTo>
                  <a:pt x="2621864" y="931773"/>
                </a:lnTo>
                <a:lnTo>
                  <a:pt x="2651544" y="970381"/>
                </a:lnTo>
                <a:lnTo>
                  <a:pt x="3233102" y="723531"/>
                </a:lnTo>
                <a:close/>
              </a:path>
              <a:path w="3943985" h="2923540">
                <a:moveTo>
                  <a:pt x="3943426" y="827303"/>
                </a:moveTo>
                <a:lnTo>
                  <a:pt x="2797352" y="1313776"/>
                </a:lnTo>
                <a:lnTo>
                  <a:pt x="2803029" y="1350035"/>
                </a:lnTo>
                <a:lnTo>
                  <a:pt x="2807182" y="1386776"/>
                </a:lnTo>
                <a:lnTo>
                  <a:pt x="2809735" y="1423962"/>
                </a:lnTo>
                <a:lnTo>
                  <a:pt x="2810599" y="1461604"/>
                </a:lnTo>
                <a:lnTo>
                  <a:pt x="2809265" y="1509217"/>
                </a:lnTo>
                <a:lnTo>
                  <a:pt x="2805328" y="1556118"/>
                </a:lnTo>
                <a:lnTo>
                  <a:pt x="2798864" y="1602257"/>
                </a:lnTo>
                <a:lnTo>
                  <a:pt x="2789910" y="1647558"/>
                </a:lnTo>
                <a:lnTo>
                  <a:pt x="2778582" y="1691944"/>
                </a:lnTo>
                <a:lnTo>
                  <a:pt x="2764917" y="1735353"/>
                </a:lnTo>
                <a:lnTo>
                  <a:pt x="2749004" y="1777720"/>
                </a:lnTo>
                <a:lnTo>
                  <a:pt x="2730893" y="1818957"/>
                </a:lnTo>
                <a:lnTo>
                  <a:pt x="2710675" y="1859000"/>
                </a:lnTo>
                <a:lnTo>
                  <a:pt x="2688425" y="1897786"/>
                </a:lnTo>
                <a:lnTo>
                  <a:pt x="2664193" y="1935238"/>
                </a:lnTo>
                <a:lnTo>
                  <a:pt x="2638069" y="1971281"/>
                </a:lnTo>
                <a:lnTo>
                  <a:pt x="2610104" y="2005850"/>
                </a:lnTo>
                <a:lnTo>
                  <a:pt x="2580386" y="2038870"/>
                </a:lnTo>
                <a:lnTo>
                  <a:pt x="2548991" y="2070277"/>
                </a:lnTo>
                <a:lnTo>
                  <a:pt x="2515959" y="2099995"/>
                </a:lnTo>
                <a:lnTo>
                  <a:pt x="2481389" y="2127948"/>
                </a:lnTo>
                <a:lnTo>
                  <a:pt x="2445347" y="2154085"/>
                </a:lnTo>
                <a:lnTo>
                  <a:pt x="2407894" y="2178304"/>
                </a:lnTo>
                <a:lnTo>
                  <a:pt x="2369108" y="2200567"/>
                </a:lnTo>
                <a:lnTo>
                  <a:pt x="2329065" y="2220785"/>
                </a:lnTo>
                <a:lnTo>
                  <a:pt x="2287828" y="2238883"/>
                </a:lnTo>
                <a:lnTo>
                  <a:pt x="2245461" y="2254796"/>
                </a:lnTo>
                <a:lnTo>
                  <a:pt x="2202053" y="2268461"/>
                </a:lnTo>
                <a:lnTo>
                  <a:pt x="2157666" y="2279802"/>
                </a:lnTo>
                <a:lnTo>
                  <a:pt x="2112365" y="2288743"/>
                </a:lnTo>
                <a:lnTo>
                  <a:pt x="2066226" y="2295220"/>
                </a:lnTo>
                <a:lnTo>
                  <a:pt x="2019312" y="2299157"/>
                </a:lnTo>
                <a:lnTo>
                  <a:pt x="1971713" y="2300478"/>
                </a:lnTo>
                <a:lnTo>
                  <a:pt x="1919643" y="2298890"/>
                </a:lnTo>
                <a:lnTo>
                  <a:pt x="1868424" y="2294178"/>
                </a:lnTo>
                <a:lnTo>
                  <a:pt x="1818132" y="2286444"/>
                </a:lnTo>
                <a:lnTo>
                  <a:pt x="1768881" y="2275776"/>
                </a:lnTo>
                <a:lnTo>
                  <a:pt x="1720748" y="2262263"/>
                </a:lnTo>
                <a:lnTo>
                  <a:pt x="1673834" y="2245995"/>
                </a:lnTo>
                <a:lnTo>
                  <a:pt x="1628228" y="2227084"/>
                </a:lnTo>
                <a:lnTo>
                  <a:pt x="1584020" y="2205609"/>
                </a:lnTo>
                <a:lnTo>
                  <a:pt x="1541310" y="2181669"/>
                </a:lnTo>
                <a:lnTo>
                  <a:pt x="1500174" y="2155355"/>
                </a:lnTo>
                <a:lnTo>
                  <a:pt x="1460728" y="2126754"/>
                </a:lnTo>
                <a:lnTo>
                  <a:pt x="1423047" y="2095969"/>
                </a:lnTo>
                <a:lnTo>
                  <a:pt x="1387233" y="2063089"/>
                </a:lnTo>
                <a:lnTo>
                  <a:pt x="1353362" y="2028215"/>
                </a:lnTo>
                <a:lnTo>
                  <a:pt x="1321549" y="1991423"/>
                </a:lnTo>
                <a:lnTo>
                  <a:pt x="1291869" y="1952815"/>
                </a:lnTo>
                <a:lnTo>
                  <a:pt x="710323" y="2199678"/>
                </a:lnTo>
                <a:lnTo>
                  <a:pt x="735545" y="2241105"/>
                </a:lnTo>
                <a:lnTo>
                  <a:pt x="762088" y="2281631"/>
                </a:lnTo>
                <a:lnTo>
                  <a:pt x="789927" y="2321191"/>
                </a:lnTo>
                <a:lnTo>
                  <a:pt x="819023" y="2359787"/>
                </a:lnTo>
                <a:lnTo>
                  <a:pt x="849337" y="2397366"/>
                </a:lnTo>
                <a:lnTo>
                  <a:pt x="880859" y="2433917"/>
                </a:lnTo>
                <a:lnTo>
                  <a:pt x="913561" y="2469400"/>
                </a:lnTo>
                <a:lnTo>
                  <a:pt x="947394" y="2503792"/>
                </a:lnTo>
                <a:lnTo>
                  <a:pt x="982332" y="2537041"/>
                </a:lnTo>
                <a:lnTo>
                  <a:pt x="1018349" y="2569146"/>
                </a:lnTo>
                <a:lnTo>
                  <a:pt x="1055420" y="2600071"/>
                </a:lnTo>
                <a:lnTo>
                  <a:pt x="1093520" y="2629776"/>
                </a:lnTo>
                <a:lnTo>
                  <a:pt x="1132611" y="2658224"/>
                </a:lnTo>
                <a:lnTo>
                  <a:pt x="1172654" y="2685402"/>
                </a:lnTo>
                <a:lnTo>
                  <a:pt x="1213637" y="2711285"/>
                </a:lnTo>
                <a:lnTo>
                  <a:pt x="1255509" y="2735821"/>
                </a:lnTo>
                <a:lnTo>
                  <a:pt x="1298270" y="2758986"/>
                </a:lnTo>
                <a:lnTo>
                  <a:pt x="1341856" y="2780766"/>
                </a:lnTo>
                <a:lnTo>
                  <a:pt x="1386268" y="2801124"/>
                </a:lnTo>
                <a:lnTo>
                  <a:pt x="1431455" y="2820009"/>
                </a:lnTo>
                <a:lnTo>
                  <a:pt x="1477403" y="2837421"/>
                </a:lnTo>
                <a:lnTo>
                  <a:pt x="1524063" y="2853321"/>
                </a:lnTo>
                <a:lnTo>
                  <a:pt x="1571434" y="2867660"/>
                </a:lnTo>
                <a:lnTo>
                  <a:pt x="1619453" y="2880436"/>
                </a:lnTo>
                <a:lnTo>
                  <a:pt x="1668106" y="2891599"/>
                </a:lnTo>
                <a:lnTo>
                  <a:pt x="1717370" y="2901137"/>
                </a:lnTo>
                <a:lnTo>
                  <a:pt x="1767217" y="2908998"/>
                </a:lnTo>
                <a:lnTo>
                  <a:pt x="1817598" y="2915170"/>
                </a:lnTo>
                <a:lnTo>
                  <a:pt x="1868487" y="2919615"/>
                </a:lnTo>
                <a:lnTo>
                  <a:pt x="1919871" y="2922295"/>
                </a:lnTo>
                <a:lnTo>
                  <a:pt x="1971713" y="2923197"/>
                </a:lnTo>
                <a:lnTo>
                  <a:pt x="2021674" y="2922359"/>
                </a:lnTo>
                <a:lnTo>
                  <a:pt x="2071204" y="2919869"/>
                </a:lnTo>
                <a:lnTo>
                  <a:pt x="2120303" y="2915742"/>
                </a:lnTo>
                <a:lnTo>
                  <a:pt x="2168918" y="2910001"/>
                </a:lnTo>
                <a:lnTo>
                  <a:pt x="2217039" y="2902699"/>
                </a:lnTo>
                <a:lnTo>
                  <a:pt x="2264626" y="2893834"/>
                </a:lnTo>
                <a:lnTo>
                  <a:pt x="2311654" y="2883446"/>
                </a:lnTo>
                <a:lnTo>
                  <a:pt x="2358110" y="2871571"/>
                </a:lnTo>
                <a:lnTo>
                  <a:pt x="2403957" y="2858211"/>
                </a:lnTo>
                <a:lnTo>
                  <a:pt x="2449157" y="2843415"/>
                </a:lnTo>
                <a:lnTo>
                  <a:pt x="2493708" y="2827197"/>
                </a:lnTo>
                <a:lnTo>
                  <a:pt x="2537574" y="2809595"/>
                </a:lnTo>
                <a:lnTo>
                  <a:pt x="2580716" y="2790621"/>
                </a:lnTo>
                <a:lnTo>
                  <a:pt x="2623121" y="2770314"/>
                </a:lnTo>
                <a:lnTo>
                  <a:pt x="2664764" y="2748699"/>
                </a:lnTo>
                <a:lnTo>
                  <a:pt x="2705595" y="2725801"/>
                </a:lnTo>
                <a:lnTo>
                  <a:pt x="2745625" y="2701645"/>
                </a:lnTo>
                <a:lnTo>
                  <a:pt x="2784792" y="2676258"/>
                </a:lnTo>
                <a:lnTo>
                  <a:pt x="2823095" y="2649664"/>
                </a:lnTo>
                <a:lnTo>
                  <a:pt x="2860484" y="2621902"/>
                </a:lnTo>
                <a:lnTo>
                  <a:pt x="2896946" y="2592984"/>
                </a:lnTo>
                <a:lnTo>
                  <a:pt x="2932468" y="2562949"/>
                </a:lnTo>
                <a:lnTo>
                  <a:pt x="2966986" y="2531808"/>
                </a:lnTo>
                <a:lnTo>
                  <a:pt x="3000514" y="2499601"/>
                </a:lnTo>
                <a:lnTo>
                  <a:pt x="3033001" y="2466352"/>
                </a:lnTo>
                <a:lnTo>
                  <a:pt x="3064421" y="2432100"/>
                </a:lnTo>
                <a:lnTo>
                  <a:pt x="3094761" y="2396845"/>
                </a:lnTo>
                <a:lnTo>
                  <a:pt x="3123984" y="2360625"/>
                </a:lnTo>
                <a:lnTo>
                  <a:pt x="3152063" y="2323477"/>
                </a:lnTo>
                <a:lnTo>
                  <a:pt x="3178962" y="2285415"/>
                </a:lnTo>
                <a:lnTo>
                  <a:pt x="3204680" y="2246477"/>
                </a:lnTo>
                <a:lnTo>
                  <a:pt x="3229178" y="2206675"/>
                </a:lnTo>
                <a:lnTo>
                  <a:pt x="3252419" y="2166048"/>
                </a:lnTo>
                <a:lnTo>
                  <a:pt x="3274377" y="2124621"/>
                </a:lnTo>
                <a:lnTo>
                  <a:pt x="3295053" y="2082419"/>
                </a:lnTo>
                <a:lnTo>
                  <a:pt x="3314382" y="2039467"/>
                </a:lnTo>
                <a:lnTo>
                  <a:pt x="3332365" y="1995792"/>
                </a:lnTo>
                <a:lnTo>
                  <a:pt x="3348964" y="1951431"/>
                </a:lnTo>
                <a:lnTo>
                  <a:pt x="3364153" y="1906384"/>
                </a:lnTo>
                <a:lnTo>
                  <a:pt x="3377908" y="1860715"/>
                </a:lnTo>
                <a:lnTo>
                  <a:pt x="3390188" y="1814423"/>
                </a:lnTo>
                <a:lnTo>
                  <a:pt x="3400996" y="1767535"/>
                </a:lnTo>
                <a:lnTo>
                  <a:pt x="3943426" y="1537271"/>
                </a:lnTo>
                <a:lnTo>
                  <a:pt x="3943426" y="82730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Titre 16">
            <a:extLst>
              <a:ext uri="{FF2B5EF4-FFF2-40B4-BE49-F238E27FC236}">
                <a16:creationId xmlns:a16="http://schemas.microsoft.com/office/drawing/2014/main" id="{1BF3075D-B05D-B943-A525-125FB90F8D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8075" y="1002182"/>
            <a:ext cx="5464175" cy="1088081"/>
          </a:xfrm>
        </p:spPr>
        <p:txBody>
          <a:bodyPr wrap="square">
            <a:noAutofit/>
          </a:bodyPr>
          <a:lstStyle>
            <a:lvl1pPr>
              <a:defRPr b="0">
                <a:solidFill>
                  <a:schemeClr val="accent3"/>
                </a:solidFill>
              </a:defRPr>
            </a:lvl1pPr>
          </a:lstStyle>
          <a:p>
            <a:r>
              <a:rPr lang="fr-FR"/>
              <a:t>Titre de partie</a:t>
            </a:r>
          </a:p>
        </p:txBody>
      </p:sp>
      <p:sp>
        <p:nvSpPr>
          <p:cNvPr id="9" name="Espace réservé pour une image  10">
            <a:extLst>
              <a:ext uri="{FF2B5EF4-FFF2-40B4-BE49-F238E27FC236}">
                <a16:creationId xmlns:a16="http://schemas.microsoft.com/office/drawing/2014/main" id="{47BBD0C6-FBD4-B544-9120-6A6CDDC6B53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5563872" cy="6858000"/>
          </a:xfrm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60515C5E-56FF-FE4B-B43B-682F34D85CD6}"/>
              </a:ext>
            </a:extLst>
          </p:cNvPr>
          <p:cNvSpPr/>
          <p:nvPr userDrawn="1"/>
        </p:nvSpPr>
        <p:spPr>
          <a:xfrm>
            <a:off x="6188074" y="759854"/>
            <a:ext cx="5465695" cy="45719"/>
          </a:xfrm>
          <a:custGeom>
            <a:avLst/>
            <a:gdLst/>
            <a:ahLst/>
            <a:cxnLst/>
            <a:rect l="l" t="t" r="r" b="b"/>
            <a:pathLst>
              <a:path w="11113770">
                <a:moveTo>
                  <a:pt x="0" y="0"/>
                </a:moveTo>
                <a:lnTo>
                  <a:pt x="11113198" y="0"/>
                </a:lnTo>
              </a:path>
            </a:pathLst>
          </a:custGeom>
          <a:ln w="3175">
            <a:solidFill>
              <a:schemeClr val="bg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5C0D79B3-B9A1-474C-8091-7E5EBC32F1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88074" y="2131793"/>
            <a:ext cx="5464176" cy="1582311"/>
          </a:xfrm>
          <a:noFill/>
        </p:spPr>
        <p:txBody>
          <a:bodyPr wrap="square" tIns="360000">
            <a:noAutofit/>
          </a:bodyPr>
          <a:lstStyle>
            <a:lvl1pPr>
              <a:defRPr sz="2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Sous-titre / Résumé</a:t>
            </a:r>
          </a:p>
        </p:txBody>
      </p:sp>
      <p:sp>
        <p:nvSpPr>
          <p:cNvPr id="12" name="Espace réservé du numéro de diapositive 18">
            <a:extLst>
              <a:ext uri="{FF2B5EF4-FFF2-40B4-BE49-F238E27FC236}">
                <a16:creationId xmlns:a16="http://schemas.microsoft.com/office/drawing/2014/main" id="{8373CB2A-6896-2443-AAC1-E337E24DCA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fld id="{3B5A6716-DBF2-AF4C-9665-1BA53E8D7A19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6436992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03. PAGE-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18">
            <a:extLst>
              <a:ext uri="{FF2B5EF4-FFF2-40B4-BE49-F238E27FC236}">
                <a16:creationId xmlns:a16="http://schemas.microsoft.com/office/drawing/2014/main" id="{A3FD6698-E135-FD44-B50D-CF054315B0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200" b="0">
                <a:solidFill>
                  <a:schemeClr val="accent1"/>
                </a:solidFill>
              </a:defRPr>
            </a:lvl1pPr>
          </a:lstStyle>
          <a:p>
            <a:fld id="{3B5A6716-DBF2-AF4C-9665-1BA53E8D7A1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F77D08A3-4D47-AB4F-9A49-663CCBC227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9990318" y="6407232"/>
            <a:ext cx="931321" cy="1453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33225084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. COUVERTURE-sim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>
            <a:extLst>
              <a:ext uri="{FF2B5EF4-FFF2-40B4-BE49-F238E27FC236}">
                <a16:creationId xmlns:a16="http://schemas.microsoft.com/office/drawing/2014/main" id="{8CE2F40F-8BDA-684C-9EEC-69D64349F3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821" y="2373775"/>
            <a:ext cx="7331704" cy="1052596"/>
          </a:xfrm>
        </p:spPr>
        <p:txBody>
          <a:bodyPr>
            <a:noAutofit/>
          </a:bodyPr>
          <a:lstStyle/>
          <a:p>
            <a:r>
              <a:rPr lang="fr-FR"/>
              <a:t>Titre principal | Page de gard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F6893A8-91A1-3E49-A80E-99A464DA83E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820" y="2041401"/>
            <a:ext cx="3584575" cy="319926"/>
          </a:xfrm>
          <a:noFill/>
        </p:spPr>
        <p:txBody>
          <a:bodyPr>
            <a:noAutofit/>
          </a:bodyPr>
          <a:lstStyle>
            <a:lvl1pPr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/>
              <a:t>Date</a:t>
            </a:r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F6863FBF-A22E-1E46-B0A4-6FA57E1E48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1819" y="3438819"/>
            <a:ext cx="7331705" cy="1277612"/>
          </a:xfrm>
          <a:noFill/>
        </p:spPr>
        <p:txBody>
          <a:bodyPr wrap="square" tIns="360000">
            <a:noAutofit/>
          </a:bodyPr>
          <a:lstStyle>
            <a:lvl1pPr>
              <a:defRPr sz="2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Sous-titre et/ou nom du client</a:t>
            </a:r>
          </a:p>
        </p:txBody>
      </p:sp>
      <p:sp>
        <p:nvSpPr>
          <p:cNvPr id="11" name="object 4">
            <a:extLst>
              <a:ext uri="{FF2B5EF4-FFF2-40B4-BE49-F238E27FC236}">
                <a16:creationId xmlns:a16="http://schemas.microsoft.com/office/drawing/2014/main" id="{D5AE9ADF-F342-9D40-BF70-0264EB47A8B6}"/>
              </a:ext>
            </a:extLst>
          </p:cNvPr>
          <p:cNvSpPr/>
          <p:nvPr userDrawn="1"/>
        </p:nvSpPr>
        <p:spPr>
          <a:xfrm>
            <a:off x="540000" y="932606"/>
            <a:ext cx="11113770" cy="0"/>
          </a:xfrm>
          <a:custGeom>
            <a:avLst/>
            <a:gdLst/>
            <a:ahLst/>
            <a:cxnLst/>
            <a:rect l="l" t="t" r="r" b="b"/>
            <a:pathLst>
              <a:path w="11113770">
                <a:moveTo>
                  <a:pt x="0" y="0"/>
                </a:moveTo>
                <a:lnTo>
                  <a:pt x="11113198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57079574-FB4D-AC45-B732-F706204933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9157" y="555660"/>
            <a:ext cx="1123804" cy="188533"/>
          </a:xfrm>
          <a:prstGeom prst="rect">
            <a:avLst/>
          </a:prstGeom>
        </p:spPr>
      </p:pic>
      <p:sp>
        <p:nvSpPr>
          <p:cNvPr id="14" name="object 3">
            <a:extLst>
              <a:ext uri="{FF2B5EF4-FFF2-40B4-BE49-F238E27FC236}">
                <a16:creationId xmlns:a16="http://schemas.microsoft.com/office/drawing/2014/main" id="{6DC42EB9-E334-A242-B22A-3D3912248CDE}"/>
              </a:ext>
            </a:extLst>
          </p:cNvPr>
          <p:cNvSpPr/>
          <p:nvPr userDrawn="1"/>
        </p:nvSpPr>
        <p:spPr>
          <a:xfrm>
            <a:off x="540000" y="5354996"/>
            <a:ext cx="11113770" cy="0"/>
          </a:xfrm>
          <a:custGeom>
            <a:avLst/>
            <a:gdLst/>
            <a:ahLst/>
            <a:cxnLst/>
            <a:rect l="l" t="t" r="r" b="b"/>
            <a:pathLst>
              <a:path w="11113770">
                <a:moveTo>
                  <a:pt x="0" y="0"/>
                </a:moveTo>
                <a:lnTo>
                  <a:pt x="11113198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5BCA094-6333-8442-AF15-469747FDD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5396" y="5572124"/>
            <a:ext cx="2536825" cy="961410"/>
          </a:xfr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600" b="0">
                <a:latin typeface="Century Gothic" panose="020B0502020202020204" pitchFamily="34" charset="0"/>
              </a:defRPr>
            </a:lvl2pPr>
            <a:lvl3pPr>
              <a:defRPr sz="1600" b="0">
                <a:latin typeface="Century Gothic" panose="020B0502020202020204" pitchFamily="34" charset="0"/>
              </a:defRPr>
            </a:lvl3pPr>
            <a:lvl4pPr>
              <a:defRPr sz="1600" b="0">
                <a:latin typeface="Century Gothic" panose="020B0502020202020204" pitchFamily="34" charset="0"/>
              </a:defRPr>
            </a:lvl4pPr>
            <a:lvl5pPr>
              <a:defRPr sz="1600" b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/>
              <a:t>Prénom Nom Personne 1</a:t>
            </a:r>
          </a:p>
          <a:p>
            <a:pPr lvl="0"/>
            <a:r>
              <a:rPr lang="fr-FR"/>
              <a:t>Prénom Nom Personne 2</a:t>
            </a:r>
          </a:p>
          <a:p>
            <a:pPr lvl="0"/>
            <a:r>
              <a:rPr lang="fr-FR"/>
              <a:t>Prénom Nom Personne 3</a:t>
            </a:r>
          </a:p>
          <a:p>
            <a:pPr lvl="0"/>
            <a:r>
              <a:rPr lang="fr-FR"/>
              <a:t>Prénom Nom Personne 4</a:t>
            </a:r>
          </a:p>
        </p:txBody>
      </p:sp>
      <p:sp>
        <p:nvSpPr>
          <p:cNvPr id="17" name="Espace réservé du texte 3">
            <a:extLst>
              <a:ext uri="{FF2B5EF4-FFF2-40B4-BE49-F238E27FC236}">
                <a16:creationId xmlns:a16="http://schemas.microsoft.com/office/drawing/2014/main" id="{D19F14FB-20D9-D345-B1A3-CE453E122B5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2623" y="5572123"/>
            <a:ext cx="5380338" cy="9614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600" b="0">
                <a:latin typeface="Century Gothic" panose="020B0502020202020204" pitchFamily="34" charset="0"/>
              </a:defRPr>
            </a:lvl2pPr>
            <a:lvl3pPr>
              <a:defRPr sz="1600" b="0">
                <a:latin typeface="Century Gothic" panose="020B0502020202020204" pitchFamily="34" charset="0"/>
              </a:defRPr>
            </a:lvl3pPr>
            <a:lvl4pPr>
              <a:defRPr sz="1600" b="0">
                <a:latin typeface="Century Gothic" panose="020B0502020202020204" pitchFamily="34" charset="0"/>
              </a:defRPr>
            </a:lvl4pPr>
            <a:lvl5pPr>
              <a:defRPr sz="1600" b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/>
              <a:t>personne1@carbone4.com | numéro tél.</a:t>
            </a:r>
          </a:p>
          <a:p>
            <a:pPr lvl="0"/>
            <a:r>
              <a:rPr lang="fr-FR"/>
              <a:t>personne2@carbone4.com | numéro tél.</a:t>
            </a:r>
            <a:br>
              <a:rPr lang="fr-FR"/>
            </a:br>
            <a:r>
              <a:rPr lang="fr-FR"/>
              <a:t>personne3@carbone4.com | numéro tél.</a:t>
            </a:r>
          </a:p>
          <a:p>
            <a:pPr lvl="0"/>
            <a:r>
              <a:rPr lang="fr-FR"/>
              <a:t>personne4@carbone4.com | numéro tél.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F4D2FB57-A41E-C84B-A681-EFFE70CC3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49201" y="5572124"/>
            <a:ext cx="2876038" cy="9614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600" b="0">
                <a:latin typeface="Century Gothic" panose="020B0502020202020204" pitchFamily="34" charset="0"/>
              </a:defRPr>
            </a:lvl2pPr>
            <a:lvl3pPr>
              <a:defRPr sz="1600" b="0">
                <a:latin typeface="Century Gothic" panose="020B0502020202020204" pitchFamily="34" charset="0"/>
              </a:defRPr>
            </a:lvl3pPr>
            <a:lvl4pPr>
              <a:defRPr sz="1600" b="0">
                <a:latin typeface="Century Gothic" panose="020B0502020202020204" pitchFamily="34" charset="0"/>
              </a:defRPr>
            </a:lvl4pPr>
            <a:lvl5pPr>
              <a:defRPr sz="1600" b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/>
              <a:t>Grade/poste Personne 1</a:t>
            </a:r>
          </a:p>
          <a:p>
            <a:pPr lvl="0"/>
            <a:r>
              <a:rPr lang="fr-FR"/>
              <a:t>Grade/poste Personne 2</a:t>
            </a:r>
          </a:p>
          <a:p>
            <a:pPr lvl="0"/>
            <a:r>
              <a:rPr lang="fr-FR"/>
              <a:t>Grade/poste Personne 3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Grade/poste Personne 4</a:t>
            </a:r>
          </a:p>
        </p:txBody>
      </p:sp>
      <p:pic>
        <p:nvPicPr>
          <p:cNvPr id="5" name="Image 4" descr="Une image contenant Police, Graphique, graphisme, logo&#10;&#10;Description générée automatiquement">
            <a:extLst>
              <a:ext uri="{FF2B5EF4-FFF2-40B4-BE49-F238E27FC236}">
                <a16:creationId xmlns:a16="http://schemas.microsoft.com/office/drawing/2014/main" id="{FB6D172F-44EB-AFD6-25A5-10B0A0B1C3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819" y="592375"/>
            <a:ext cx="976190" cy="246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0368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03. PAGE-standard-titre_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5494B95-1F29-044B-A910-00151438DD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>
                <a:latin typeface="CocogooseProNarrow Darkmode" panose="00000400000000000000" pitchFamily="2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1" name="Espace réservé du numéro de diapositive 18">
            <a:extLst>
              <a:ext uri="{FF2B5EF4-FFF2-40B4-BE49-F238E27FC236}">
                <a16:creationId xmlns:a16="http://schemas.microsoft.com/office/drawing/2014/main" id="{062A5E12-47A6-6A41-93E9-892AEF0EE2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200" b="0">
                <a:solidFill>
                  <a:schemeClr val="accent1"/>
                </a:solidFill>
              </a:defRPr>
            </a:lvl1pPr>
          </a:lstStyle>
          <a:p>
            <a:fld id="{3B5A6716-DBF2-AF4C-9665-1BA53E8D7A1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9D78A4D0-8C28-434D-A70C-10123983D74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9990318" y="6407232"/>
            <a:ext cx="931321" cy="145377"/>
          </a:xfrm>
          <a:prstGeom prst="rect">
            <a:avLst/>
          </a:prstGeom>
          <a:noFill/>
        </p:spPr>
      </p:pic>
      <p:pic>
        <p:nvPicPr>
          <p:cNvPr id="5" name="Image 4" descr="Une image contenant Graphique, Police, graphisme, capture d’écran&#10;&#10;Description générée automatiquement">
            <a:extLst>
              <a:ext uri="{FF2B5EF4-FFF2-40B4-BE49-F238E27FC236}">
                <a16:creationId xmlns:a16="http://schemas.microsoft.com/office/drawing/2014/main" id="{070F61D4-868F-7B7C-BAE6-4D4400F2ED0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574" y="6365788"/>
            <a:ext cx="905043" cy="22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407278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03. PAGE-standard-titre_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F8EACED-5D70-126D-D06C-060ACF980B01}"/>
              </a:ext>
            </a:extLst>
          </p:cNvPr>
          <p:cNvSpPr/>
          <p:nvPr userDrawn="1"/>
        </p:nvSpPr>
        <p:spPr>
          <a:xfrm>
            <a:off x="0" y="1820174"/>
            <a:ext cx="12192000" cy="50378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5494B95-1F29-044B-A910-00151438DD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>
                <a:latin typeface="CocogooseProNarrow Darkmode" panose="00000400000000000000" pitchFamily="2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1" name="Espace réservé du numéro de diapositive 18">
            <a:extLst>
              <a:ext uri="{FF2B5EF4-FFF2-40B4-BE49-F238E27FC236}">
                <a16:creationId xmlns:a16="http://schemas.microsoft.com/office/drawing/2014/main" id="{062A5E12-47A6-6A41-93E9-892AEF0EE2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200" b="0">
                <a:solidFill>
                  <a:schemeClr val="accent1"/>
                </a:solidFill>
              </a:defRPr>
            </a:lvl1pPr>
          </a:lstStyle>
          <a:p>
            <a:fld id="{3B5A6716-DBF2-AF4C-9665-1BA53E8D7A1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9D78A4D0-8C28-434D-A70C-10123983D74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9990318" y="6407232"/>
            <a:ext cx="931321" cy="145377"/>
          </a:xfrm>
          <a:prstGeom prst="rect">
            <a:avLst/>
          </a:prstGeom>
          <a:noFill/>
        </p:spPr>
      </p:pic>
      <p:pic>
        <p:nvPicPr>
          <p:cNvPr id="5" name="Image 4" descr="Une image contenant Graphique, Police, graphisme, capture d’écran&#10;&#10;Description générée automatiquement">
            <a:extLst>
              <a:ext uri="{FF2B5EF4-FFF2-40B4-BE49-F238E27FC236}">
                <a16:creationId xmlns:a16="http://schemas.microsoft.com/office/drawing/2014/main" id="{070F61D4-868F-7B7C-BAE6-4D4400F2ED0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574" y="6365788"/>
            <a:ext cx="905043" cy="22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173816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03. PAGE-standard-titre_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Une image contenant habits, meubles, table, personne&#10;&#10;Description générée automatiquement">
            <a:extLst>
              <a:ext uri="{FF2B5EF4-FFF2-40B4-BE49-F238E27FC236}">
                <a16:creationId xmlns:a16="http://schemas.microsoft.com/office/drawing/2014/main" id="{92A82CAE-9B64-54A4-32A9-CD42B869E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201298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269380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1439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49" imgH="350" progId="TCLayout.ActiveDocument.1">
                  <p:embed/>
                </p:oleObj>
              </mc:Choice>
              <mc:Fallback>
                <p:oleObj name="Diapositive think-cell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1398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0" Type="http://schemas.openxmlformats.org/officeDocument/2006/relationships/image" Target="../media/image10.emf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19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image" Target="../media/image13.emf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31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38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0.xml"/><Relationship Id="rId10" Type="http://schemas.openxmlformats.org/officeDocument/2006/relationships/image" Target="../media/image18.emf"/><Relationship Id="rId4" Type="http://schemas.openxmlformats.org/officeDocument/2006/relationships/slideLayout" Target="../slideLayouts/slideLayout39.xml"/><Relationship Id="rId9" Type="http://schemas.openxmlformats.org/officeDocument/2006/relationships/oleObject" Target="../embeddings/oleObject6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image" Target="../media/image19.emf"/><Relationship Id="rId5" Type="http://schemas.openxmlformats.org/officeDocument/2006/relationships/slideLayout" Target="../slideLayouts/slideLayout46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45.xml"/><Relationship Id="rId9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5277704-1957-79E1-7B72-AB7298D19F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84673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2" imgW="7772400" imgH="10058400" progId="TCLayout.ActiveDocument.1">
                  <p:embed/>
                </p:oleObj>
              </mc:Choice>
              <mc:Fallback>
                <p:oleObj name="Diapositive think-cell" r:id="rId12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277704-1957-79E1-7B72-AB7298D19F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136E54C2-1290-6A4B-B368-0ABD73C7D5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4" y="314960"/>
            <a:ext cx="11115675" cy="896400"/>
          </a:xfrm>
          <a:prstGeom prst="rect">
            <a:avLst/>
          </a:prstGeom>
        </p:spPr>
        <p:txBody>
          <a:bodyPr vert="horz" lIns="0" tIns="36000" rIns="36000" bIns="0" rtlCol="0" anchor="t" anchorCtr="0">
            <a:noAutofit/>
          </a:bodyPr>
          <a:lstStyle/>
          <a:p>
            <a:endParaRPr lang="fr-FR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0671CC62-7E61-7E4B-B723-557ED2262D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6574" y="1484313"/>
            <a:ext cx="11115674" cy="4279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quez pour modifier les styles du texte du masque</a:t>
            </a:r>
          </a:p>
          <a:p>
            <a:pPr marL="492125" marR="0" lvl="1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uxième niveau</a:t>
            </a:r>
          </a:p>
          <a:p>
            <a:pPr marL="806450" marR="0" lvl="2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oisième niveau</a:t>
            </a:r>
          </a:p>
          <a:p>
            <a:pPr marL="1074738" marR="0" lvl="3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Quatrième niveau</a:t>
            </a:r>
          </a:p>
          <a:p>
            <a:pPr marL="1389063" marR="0" lvl="4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nquième niveau</a:t>
            </a:r>
          </a:p>
        </p:txBody>
      </p:sp>
      <p:pic>
        <p:nvPicPr>
          <p:cNvPr id="4" name="Image 3" descr="Une image contenant Police, Graphique, capture d’écran, logo&#10;&#10;Description générée automatiquement">
            <a:extLst>
              <a:ext uri="{FF2B5EF4-FFF2-40B4-BE49-F238E27FC236}">
                <a16:creationId xmlns:a16="http://schemas.microsoft.com/office/drawing/2014/main" id="{ADE28327-0CDA-18B0-9DA5-DD5167D05097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054611" y="180577"/>
            <a:ext cx="1781175" cy="733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040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2" r:id="rId2"/>
    <p:sldLayoutId id="2147483663" r:id="rId3"/>
    <p:sldLayoutId id="2147483679" r:id="rId4"/>
    <p:sldLayoutId id="2147483684" r:id="rId5"/>
    <p:sldLayoutId id="2147483691" r:id="rId6"/>
    <p:sldLayoutId id="2147483698" r:id="rId7"/>
    <p:sldLayoutId id="2147483697" r:id="rId8"/>
    <p:sldLayoutId id="2147483721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b="1" i="0" kern="1200" baseline="0">
          <a:solidFill>
            <a:schemeClr val="accent1"/>
          </a:solidFill>
          <a:latin typeface="CocogooseProNarrow Darkmode" panose="00000400000000000000" pitchFamily="2" charset="0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>
          <a:srgbClr val="FF554B"/>
        </a:buClr>
        <a:buSzPct val="100000"/>
        <a:buFont typeface="Police système Courant"/>
        <a:buChar char="●"/>
        <a:tabLst>
          <a:tab pos="431800" algn="l"/>
        </a:tabLst>
        <a:defRPr sz="1400" b="0" i="0" kern="1200" baseline="0">
          <a:solidFill>
            <a:schemeClr val="tx1"/>
          </a:solidFill>
          <a:latin typeface="CocogooseProNarrow Light" pitchFamily="2" charset="0"/>
          <a:ea typeface="+mn-ea"/>
          <a:cs typeface="+mn-cs"/>
        </a:defRPr>
      </a:lvl1pPr>
      <a:lvl2pPr marL="492125" marR="0" indent="-20955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>
          <a:srgbClr val="283246"/>
        </a:buClr>
        <a:buSzTx/>
        <a:buFont typeface="Wingdings" pitchFamily="2" charset="2"/>
        <a:buChar char="§"/>
        <a:tabLst/>
        <a:defRPr sz="1400" kern="1200" baseline="0">
          <a:solidFill>
            <a:schemeClr val="tx1"/>
          </a:solidFill>
          <a:latin typeface="CocogooseProNarrow Light" pitchFamily="2" charset="0"/>
          <a:ea typeface="+mn-ea"/>
          <a:cs typeface="+mn-cs"/>
        </a:defRPr>
      </a:lvl2pPr>
      <a:lvl3pPr marL="806450" marR="0" indent="-2540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>
          <a:srgbClr val="55739B"/>
        </a:buClr>
        <a:buSzTx/>
        <a:buFont typeface="Police système Courant"/>
        <a:buChar char="–"/>
        <a:tabLst/>
        <a:defRPr sz="1400" kern="1200" baseline="0">
          <a:solidFill>
            <a:schemeClr val="tx1"/>
          </a:solidFill>
          <a:latin typeface="CocogooseProNarrow Light" pitchFamily="2" charset="0"/>
          <a:ea typeface="+mn-ea"/>
          <a:cs typeface="+mn-cs"/>
        </a:defRPr>
      </a:lvl3pPr>
      <a:lvl4pPr marL="1074738" marR="0" indent="-2540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>
          <a:srgbClr val="55739B"/>
        </a:buClr>
        <a:buSzTx/>
        <a:buFont typeface="Arial" panose="020B0604020202020204" pitchFamily="34" charset="0"/>
        <a:buChar char="•"/>
        <a:tabLst/>
        <a:defRPr sz="1400" b="0" i="0" kern="1200" cap="none" baseline="0">
          <a:solidFill>
            <a:schemeClr val="tx1"/>
          </a:solidFill>
          <a:latin typeface="CocogooseProNarrow Light" pitchFamily="2" charset="0"/>
          <a:ea typeface="+mn-ea"/>
          <a:cs typeface="+mn-cs"/>
        </a:defRPr>
      </a:lvl4pPr>
      <a:lvl5pPr marL="1389063" marR="0" indent="-2540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>
          <a:srgbClr val="AAAAB2"/>
        </a:buClr>
        <a:buSzTx/>
        <a:buFont typeface="Arial" panose="020B0604020202020204" pitchFamily="34" charset="0"/>
        <a:buChar char="•"/>
        <a:tabLst/>
        <a:defRPr sz="1400" kern="1200" baseline="0">
          <a:solidFill>
            <a:schemeClr val="tx1"/>
          </a:solidFill>
          <a:latin typeface="CocogooseProNarrow Light" pitchFamily="2" charset="0"/>
          <a:ea typeface="+mn-ea"/>
          <a:cs typeface="+mn-cs"/>
        </a:defRPr>
      </a:lvl5pPr>
      <a:lvl6pPr marL="2286000" indent="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SzPct val="100000"/>
        <a:buFont typeface="Police système Courant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82">
          <p15:clr>
            <a:srgbClr val="A4A3A4"/>
          </p15:clr>
        </p15:guide>
        <p15:guide id="2" orient="horz" pos="3978">
          <p15:clr>
            <a:srgbClr val="A4A3A4"/>
          </p15:clr>
        </p15:guide>
        <p15:guide id="3" pos="3898">
          <p15:clr>
            <a:srgbClr val="A4A3A4"/>
          </p15:clr>
        </p15:guide>
        <p15:guide id="4" pos="2710">
          <p15:clr>
            <a:srgbClr val="A4A3A4"/>
          </p15:clr>
        </p15:guide>
        <p15:guide id="5" pos="2596">
          <p15:clr>
            <a:srgbClr val="A4A3A4"/>
          </p15:clr>
        </p15:guide>
        <p15:guide id="6" pos="1526">
          <p15:clr>
            <a:srgbClr val="A4A3A4"/>
          </p15:clr>
        </p15:guide>
        <p15:guide id="7" pos="1410">
          <p15:clr>
            <a:srgbClr val="A4A3A4"/>
          </p15:clr>
        </p15:guide>
        <p15:guide id="8" pos="338">
          <p15:clr>
            <a:srgbClr val="A4A3A4"/>
          </p15:clr>
        </p15:guide>
        <p15:guide id="9" pos="4966">
          <p15:clr>
            <a:srgbClr val="A4A3A4"/>
          </p15:clr>
        </p15:guide>
        <p15:guide id="10" pos="5084">
          <p15:clr>
            <a:srgbClr val="A4A3A4"/>
          </p15:clr>
        </p15:guide>
        <p15:guide id="11" pos="6154">
          <p15:clr>
            <a:srgbClr val="A4A3A4"/>
          </p15:clr>
        </p15:guide>
        <p15:guide id="12" pos="6268">
          <p15:clr>
            <a:srgbClr val="A4A3A4"/>
          </p15:clr>
        </p15:guide>
        <p15:guide id="13" pos="7340">
          <p15:clr>
            <a:srgbClr val="A4A3A4"/>
          </p15:clr>
        </p15:guide>
        <p15:guide id="16" orient="horz" pos="3631" userDrawn="1">
          <p15:clr>
            <a:srgbClr val="F26B43"/>
          </p15:clr>
        </p15:guide>
        <p15:guide id="17" orient="horz" pos="346" userDrawn="1">
          <p15:clr>
            <a:srgbClr val="F26B43"/>
          </p15:clr>
        </p15:guide>
        <p15:guide id="18" orient="horz" pos="93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89ABB73-F992-135A-A7ED-6028562D54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9978024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9" imgW="7772400" imgH="10058400" progId="TCLayout.ActiveDocument.1">
                  <p:embed/>
                </p:oleObj>
              </mc:Choice>
              <mc:Fallback>
                <p:oleObj name="Diapositive think-cell" r:id="rId19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9ABB73-F992-135A-A7ED-6028562D54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EA87B71E-62F3-149C-5968-4E8DE6477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0ABB918-F147-6875-00C5-7302162D20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2EC4DD8-D3DA-BA31-B92C-1BBFBABD64F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700BC01-B1E2-321A-CE4B-EC3F04DC21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B88485-CA92-84C3-54C3-E941F34C0C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C33A71-8A69-9649-A97B-3DE17970289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1730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92" r:id="rId12"/>
    <p:sldLayoutId id="2147483693" r:id="rId13"/>
    <p:sldLayoutId id="2147483694" r:id="rId14"/>
    <p:sldLayoutId id="2147483695" r:id="rId15"/>
    <p:sldLayoutId id="2147483696" r:id="rId1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09EC83A-37FD-E939-6135-138945941A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7932947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7772400" imgH="10058400" progId="TCLayout.ActiveDocument.1">
                  <p:embed/>
                </p:oleObj>
              </mc:Choice>
              <mc:Fallback>
                <p:oleObj name="Diapositive think-cell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9EC83A-37FD-E939-6135-138945941A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136E54C2-1290-6A4B-B368-0ABD73C7D5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820" y="2095457"/>
            <a:ext cx="10914527" cy="52629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D61D422-DA27-184A-96A2-BEC59C50B8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1821" y="3111507"/>
            <a:ext cx="10914527" cy="19557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/>
              <a:t>Niveau 1</a:t>
            </a:r>
          </a:p>
          <a:p>
            <a:pPr lvl="1"/>
            <a:r>
              <a:rPr lang="fr-FR"/>
              <a:t>Niveau 2</a:t>
            </a:r>
          </a:p>
          <a:p>
            <a:pPr lvl="2"/>
            <a:r>
              <a:rPr lang="fr-FR"/>
              <a:t>Niveau 3</a:t>
            </a:r>
          </a:p>
          <a:p>
            <a:pPr lvl="3"/>
            <a:r>
              <a:rPr lang="fr-FR"/>
              <a:t>Niveau 4</a:t>
            </a:r>
          </a:p>
          <a:p>
            <a:pPr lvl="4"/>
            <a:r>
              <a:rPr lang="fr-FR"/>
              <a:t>Niveau 5</a:t>
            </a:r>
          </a:p>
        </p:txBody>
      </p:sp>
    </p:spTree>
    <p:extLst>
      <p:ext uri="{BB962C8B-B14F-4D97-AF65-F5344CB8AC3E}">
        <p14:creationId xmlns:p14="http://schemas.microsoft.com/office/powerpoint/2010/main" val="2665716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800" b="1" i="0" kern="1200" baseline="0">
          <a:solidFill>
            <a:schemeClr val="bg1"/>
          </a:solidFill>
          <a:latin typeface="CocogooseProNarrow Darkmode" panose="00000400000000000000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700" b="1" i="0" kern="1200" baseline="0">
          <a:solidFill>
            <a:schemeClr val="bg1"/>
          </a:solidFill>
          <a:latin typeface="CocogooseProNarrow Light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2200" kern="1200" baseline="0">
          <a:solidFill>
            <a:schemeClr val="bg1"/>
          </a:solidFill>
          <a:latin typeface="CocogooseProNarrow Light" pitchFamily="2" charset="0"/>
          <a:ea typeface="+mn-ea"/>
          <a:cs typeface="+mn-cs"/>
        </a:defRPr>
      </a:lvl2pPr>
      <a:lvl3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600" kern="1200" baseline="0">
          <a:solidFill>
            <a:schemeClr val="bg1"/>
          </a:solidFill>
          <a:latin typeface="CocogooseProNarrow Light" pitchFamily="2" charset="0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600" b="1" i="0" kern="1200" cap="none" baseline="0">
          <a:solidFill>
            <a:schemeClr val="accent3"/>
          </a:solidFill>
          <a:latin typeface="CocogooseProNarrow Light" pitchFamily="2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200" kern="1200" baseline="0">
          <a:solidFill>
            <a:schemeClr val="bg1"/>
          </a:solidFill>
          <a:latin typeface="CocogooseProNarrow Light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82">
          <p15:clr>
            <a:srgbClr val="A4A3A4"/>
          </p15:clr>
        </p15:guide>
        <p15:guide id="2" orient="horz" pos="3978">
          <p15:clr>
            <a:srgbClr val="A4A3A4"/>
          </p15:clr>
        </p15:guide>
        <p15:guide id="3" pos="3898">
          <p15:clr>
            <a:srgbClr val="A4A3A4"/>
          </p15:clr>
        </p15:guide>
        <p15:guide id="4" pos="2710">
          <p15:clr>
            <a:srgbClr val="A4A3A4"/>
          </p15:clr>
        </p15:guide>
        <p15:guide id="5" pos="2596">
          <p15:clr>
            <a:srgbClr val="A4A3A4"/>
          </p15:clr>
        </p15:guide>
        <p15:guide id="6" pos="1526">
          <p15:clr>
            <a:srgbClr val="A4A3A4"/>
          </p15:clr>
        </p15:guide>
        <p15:guide id="7" pos="1410">
          <p15:clr>
            <a:srgbClr val="A4A3A4"/>
          </p15:clr>
        </p15:guide>
        <p15:guide id="8" pos="338">
          <p15:clr>
            <a:srgbClr val="A4A3A4"/>
          </p15:clr>
        </p15:guide>
        <p15:guide id="9" pos="4966">
          <p15:clr>
            <a:srgbClr val="A4A3A4"/>
          </p15:clr>
        </p15:guide>
        <p15:guide id="10" pos="5084">
          <p15:clr>
            <a:srgbClr val="A4A3A4"/>
          </p15:clr>
        </p15:guide>
        <p15:guide id="11" pos="6154">
          <p15:clr>
            <a:srgbClr val="A4A3A4"/>
          </p15:clr>
        </p15:guide>
        <p15:guide id="12" pos="6268">
          <p15:clr>
            <a:srgbClr val="A4A3A4"/>
          </p15:clr>
        </p15:guide>
        <p15:guide id="13" pos="7340">
          <p15:clr>
            <a:srgbClr val="A4A3A4"/>
          </p15:clr>
        </p15:guide>
        <p15:guide id="14" orient="horz" pos="340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645A9E3-289E-1650-F8AC-C765DBF660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71808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2" imgW="7772400" imgH="10058400" progId="TCLayout.ActiveDocument.1">
                  <p:embed/>
                </p:oleObj>
              </mc:Choice>
              <mc:Fallback>
                <p:oleObj name="Diapositive think-cell" r:id="rId12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45A9E3-289E-1650-F8AC-C765DBF660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136E54C2-1290-6A4B-B368-0ABD73C7D5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4" y="314960"/>
            <a:ext cx="11115675" cy="896400"/>
          </a:xfrm>
          <a:prstGeom prst="rect">
            <a:avLst/>
          </a:prstGeom>
        </p:spPr>
        <p:txBody>
          <a:bodyPr vert="horz" lIns="0" tIns="36000" rIns="36000" bIns="0" rtlCol="0" anchor="t" anchorCtr="0">
            <a:noAutofit/>
          </a:bodyPr>
          <a:lstStyle/>
          <a:p>
            <a:endParaRPr lang="fr-FR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0671CC62-7E61-7E4B-B723-557ED2262D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6574" y="1484313"/>
            <a:ext cx="11115674" cy="4279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quez pour modifier les styles du texte du masque</a:t>
            </a:r>
          </a:p>
          <a:p>
            <a:pPr marL="492125" marR="0" lvl="1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uxième niveau</a:t>
            </a:r>
          </a:p>
          <a:p>
            <a:pPr marL="806450" marR="0" lvl="2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oisième niveau</a:t>
            </a:r>
          </a:p>
          <a:p>
            <a:pPr marL="1074738" marR="0" lvl="3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Quatrième niveau</a:t>
            </a:r>
          </a:p>
          <a:p>
            <a:pPr marL="1389063" marR="0" lvl="4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671311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8" r:id="rId7"/>
    <p:sldLayoutId id="2147483709" r:id="rId8"/>
    <p:sldLayoutId id="2147483710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b="1" i="0" kern="1200" baseline="0">
          <a:solidFill>
            <a:schemeClr val="accent1"/>
          </a:solidFill>
          <a:latin typeface="CocogooseProNarrow Darkmode" panose="00000400000000000000" pitchFamily="2" charset="0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>
          <a:srgbClr val="FF554B"/>
        </a:buClr>
        <a:buSzPct val="100000"/>
        <a:buFont typeface="Police système Courant"/>
        <a:buChar char="●"/>
        <a:tabLst>
          <a:tab pos="431800" algn="l"/>
        </a:tabLst>
        <a:defRPr sz="1400" b="0" i="0" kern="1200" baseline="0">
          <a:solidFill>
            <a:schemeClr val="tx1"/>
          </a:solidFill>
          <a:latin typeface="CocogooseProNarrow Light" pitchFamily="2" charset="0"/>
          <a:ea typeface="+mn-ea"/>
          <a:cs typeface="+mn-cs"/>
        </a:defRPr>
      </a:lvl1pPr>
      <a:lvl2pPr marL="492125" marR="0" indent="-20955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>
          <a:srgbClr val="283246"/>
        </a:buClr>
        <a:buSzTx/>
        <a:buFont typeface="Wingdings" pitchFamily="2" charset="2"/>
        <a:buChar char="§"/>
        <a:tabLst/>
        <a:defRPr sz="1400" kern="1200" baseline="0">
          <a:solidFill>
            <a:schemeClr val="tx1"/>
          </a:solidFill>
          <a:latin typeface="CocogooseProNarrow Light" pitchFamily="2" charset="0"/>
          <a:ea typeface="+mn-ea"/>
          <a:cs typeface="+mn-cs"/>
        </a:defRPr>
      </a:lvl2pPr>
      <a:lvl3pPr marL="806450" marR="0" indent="-2540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>
          <a:srgbClr val="55739B"/>
        </a:buClr>
        <a:buSzTx/>
        <a:buFont typeface="Police système Courant"/>
        <a:buChar char="–"/>
        <a:tabLst/>
        <a:defRPr sz="1400" kern="1200" baseline="0">
          <a:solidFill>
            <a:schemeClr val="tx1"/>
          </a:solidFill>
          <a:latin typeface="CocogooseProNarrow Light" pitchFamily="2" charset="0"/>
          <a:ea typeface="+mn-ea"/>
          <a:cs typeface="+mn-cs"/>
        </a:defRPr>
      </a:lvl3pPr>
      <a:lvl4pPr marL="1074738" marR="0" indent="-2540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>
          <a:srgbClr val="55739B"/>
        </a:buClr>
        <a:buSzTx/>
        <a:buFont typeface="Arial" panose="020B0604020202020204" pitchFamily="34" charset="0"/>
        <a:buChar char="•"/>
        <a:tabLst/>
        <a:defRPr sz="1400" b="0" i="0" kern="1200" cap="none" baseline="0">
          <a:solidFill>
            <a:schemeClr val="tx1"/>
          </a:solidFill>
          <a:latin typeface="CocogooseProNarrow Light" pitchFamily="2" charset="0"/>
          <a:ea typeface="+mn-ea"/>
          <a:cs typeface="+mn-cs"/>
        </a:defRPr>
      </a:lvl4pPr>
      <a:lvl5pPr marL="1389063" marR="0" indent="-2540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>
          <a:srgbClr val="AAAAB2"/>
        </a:buClr>
        <a:buSzTx/>
        <a:buFont typeface="Arial" panose="020B0604020202020204" pitchFamily="34" charset="0"/>
        <a:buChar char="•"/>
        <a:tabLst/>
        <a:defRPr sz="1400" kern="1200" baseline="0">
          <a:solidFill>
            <a:schemeClr val="tx1"/>
          </a:solidFill>
          <a:latin typeface="CocogooseProNarrow Light" pitchFamily="2" charset="0"/>
          <a:ea typeface="+mn-ea"/>
          <a:cs typeface="+mn-cs"/>
        </a:defRPr>
      </a:lvl5pPr>
      <a:lvl6pPr marL="2286000" indent="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SzPct val="100000"/>
        <a:buFont typeface="Police système Courant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82">
          <p15:clr>
            <a:srgbClr val="A4A3A4"/>
          </p15:clr>
        </p15:guide>
        <p15:guide id="2" orient="horz" pos="3978">
          <p15:clr>
            <a:srgbClr val="A4A3A4"/>
          </p15:clr>
        </p15:guide>
        <p15:guide id="3" pos="3898">
          <p15:clr>
            <a:srgbClr val="A4A3A4"/>
          </p15:clr>
        </p15:guide>
        <p15:guide id="4" pos="2710">
          <p15:clr>
            <a:srgbClr val="A4A3A4"/>
          </p15:clr>
        </p15:guide>
        <p15:guide id="5" pos="2596">
          <p15:clr>
            <a:srgbClr val="A4A3A4"/>
          </p15:clr>
        </p15:guide>
        <p15:guide id="6" pos="1526">
          <p15:clr>
            <a:srgbClr val="A4A3A4"/>
          </p15:clr>
        </p15:guide>
        <p15:guide id="7" pos="1410">
          <p15:clr>
            <a:srgbClr val="A4A3A4"/>
          </p15:clr>
        </p15:guide>
        <p15:guide id="8" pos="338">
          <p15:clr>
            <a:srgbClr val="A4A3A4"/>
          </p15:clr>
        </p15:guide>
        <p15:guide id="9" pos="4966">
          <p15:clr>
            <a:srgbClr val="A4A3A4"/>
          </p15:clr>
        </p15:guide>
        <p15:guide id="10" pos="5084">
          <p15:clr>
            <a:srgbClr val="A4A3A4"/>
          </p15:clr>
        </p15:guide>
        <p15:guide id="11" pos="6154">
          <p15:clr>
            <a:srgbClr val="A4A3A4"/>
          </p15:clr>
        </p15:guide>
        <p15:guide id="12" pos="6268">
          <p15:clr>
            <a:srgbClr val="A4A3A4"/>
          </p15:clr>
        </p15:guide>
        <p15:guide id="13" pos="7340">
          <p15:clr>
            <a:srgbClr val="A4A3A4"/>
          </p15:clr>
        </p15:guide>
        <p15:guide id="16" orient="horz" pos="3631">
          <p15:clr>
            <a:srgbClr val="F26B43"/>
          </p15:clr>
        </p15:guide>
        <p15:guide id="17" orient="horz" pos="346">
          <p15:clr>
            <a:srgbClr val="F26B43"/>
          </p15:clr>
        </p15:guide>
        <p15:guide id="18" orient="horz" pos="93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6A73224-81DC-0634-5899-5EA59563EA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51321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9" imgW="7772400" imgH="10058400" progId="TCLayout.ActiveDocument.1">
                  <p:embed/>
                </p:oleObj>
              </mc:Choice>
              <mc:Fallback>
                <p:oleObj name="Diapositive think-cell" r:id="rId9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A73224-81DC-0634-5899-5EA59563EA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136E54C2-1290-6A4B-B368-0ABD73C7D5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6" y="314960"/>
            <a:ext cx="11115675" cy="896400"/>
          </a:xfrm>
          <a:prstGeom prst="rect">
            <a:avLst/>
          </a:prstGeom>
        </p:spPr>
        <p:txBody>
          <a:bodyPr vert="horz" lIns="0" tIns="36000" rIns="36000" bIns="0" rtlCol="0" anchor="t" anchorCtr="0">
            <a:noAutofit/>
          </a:bodyPr>
          <a:lstStyle/>
          <a:p>
            <a:endParaRPr lang="fr-FR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0671CC62-7E61-7E4B-B723-557ED2262D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6573" y="1484313"/>
            <a:ext cx="11115675" cy="4279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323850" algn="l"/>
              </a:tabLst>
              <a:defRPr/>
            </a:pPr>
            <a:r>
              <a:rPr kumimoji="0" lang="fr-F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quez pour modifier les styles du texte du masque</a:t>
            </a:r>
          </a:p>
          <a:p>
            <a:pPr marL="369094" marR="0" lvl="1" indent="-157163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fr-F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uxième niveau</a:t>
            </a:r>
          </a:p>
          <a:p>
            <a:pPr marL="604838" marR="0" lvl="2" indent="-190500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/>
            </a:pPr>
            <a:r>
              <a:rPr kumimoji="0" lang="fr-F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oisième niveau</a:t>
            </a:r>
          </a:p>
          <a:p>
            <a:pPr marL="806054" marR="0" lvl="3" indent="-190500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Quatrième niveau</a:t>
            </a:r>
          </a:p>
          <a:p>
            <a:pPr marL="1041797" marR="0" lvl="4" indent="-190500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388860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500" b="1" i="0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marR="0" indent="-171450" algn="l" defTabSz="685800" rtl="0" eaLnBrk="1" fontAlgn="auto" latinLnBrk="0" hangingPunct="1">
        <a:lnSpc>
          <a:spcPct val="90000"/>
        </a:lnSpc>
        <a:spcBef>
          <a:spcPts val="750"/>
        </a:spcBef>
        <a:spcAft>
          <a:spcPts val="0"/>
        </a:spcAft>
        <a:buClr>
          <a:srgbClr val="FF554B"/>
        </a:buClr>
        <a:buSzPct val="100000"/>
        <a:buFont typeface="Police système Courant"/>
        <a:buChar char="●"/>
        <a:tabLst>
          <a:tab pos="323850" algn="l"/>
        </a:tabLst>
        <a:defRPr sz="1400" b="0" i="0" kern="1200" baseline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369094" marR="0" indent="-157163" algn="l" defTabSz="685800" rtl="0" eaLnBrk="1" fontAlgn="auto" latinLnBrk="0" hangingPunct="1">
        <a:lnSpc>
          <a:spcPct val="90000"/>
        </a:lnSpc>
        <a:spcBef>
          <a:spcPts val="375"/>
        </a:spcBef>
        <a:spcAft>
          <a:spcPts val="0"/>
        </a:spcAft>
        <a:buClr>
          <a:srgbClr val="283246"/>
        </a:buClr>
        <a:buSzTx/>
        <a:buFont typeface="Wingdings" pitchFamily="2" charset="2"/>
        <a:buChar char="§"/>
        <a:tabLst/>
        <a:defRPr sz="1400" kern="1200" baseline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604838" marR="0" indent="-190500" algn="l" defTabSz="685800" rtl="0" eaLnBrk="1" fontAlgn="auto" latinLnBrk="0" hangingPunct="1">
        <a:lnSpc>
          <a:spcPct val="90000"/>
        </a:lnSpc>
        <a:spcBef>
          <a:spcPts val="375"/>
        </a:spcBef>
        <a:spcAft>
          <a:spcPts val="0"/>
        </a:spcAft>
        <a:buClr>
          <a:srgbClr val="55739B"/>
        </a:buClr>
        <a:buSzTx/>
        <a:buFont typeface="Police système Courant"/>
        <a:buChar char="–"/>
        <a:tabLst/>
        <a:defRPr sz="1400" kern="1200" baseline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806054" marR="0" indent="-190500" algn="l" defTabSz="685800" rtl="0" eaLnBrk="1" fontAlgn="auto" latinLnBrk="0" hangingPunct="1">
        <a:lnSpc>
          <a:spcPct val="90000"/>
        </a:lnSpc>
        <a:spcBef>
          <a:spcPts val="375"/>
        </a:spcBef>
        <a:spcAft>
          <a:spcPts val="0"/>
        </a:spcAft>
        <a:buClr>
          <a:srgbClr val="55739B"/>
        </a:buClr>
        <a:buSzTx/>
        <a:buFont typeface="Arial" panose="020B0604020202020204" pitchFamily="34" charset="0"/>
        <a:buChar char="•"/>
        <a:tabLst/>
        <a:defRPr sz="1400" b="0" i="0" kern="1200" cap="none" baseline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1041797" marR="0" indent="-190500" algn="l" defTabSz="685800" rtl="0" eaLnBrk="1" fontAlgn="auto" latinLnBrk="0" hangingPunct="1">
        <a:lnSpc>
          <a:spcPct val="90000"/>
        </a:lnSpc>
        <a:spcBef>
          <a:spcPts val="375"/>
        </a:spcBef>
        <a:spcAft>
          <a:spcPts val="0"/>
        </a:spcAft>
        <a:buClr>
          <a:srgbClr val="AAAAB2"/>
        </a:buClr>
        <a:buSzTx/>
        <a:buFont typeface="Arial" panose="020B0604020202020204" pitchFamily="34" charset="0"/>
        <a:buChar char="•"/>
        <a:tabLst/>
        <a:defRPr sz="1400" kern="1200" baseline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1714500" indent="0" algn="l" defTabSz="685800" rtl="0" eaLnBrk="1" latinLnBrk="0" hangingPunct="1">
        <a:lnSpc>
          <a:spcPct val="90000"/>
        </a:lnSpc>
        <a:spcBef>
          <a:spcPts val="375"/>
        </a:spcBef>
        <a:buClr>
          <a:schemeClr val="accent3"/>
        </a:buClr>
        <a:buSzPct val="100000"/>
        <a:buFont typeface="Police système Courant"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43">
          <p15:clr>
            <a:srgbClr val="A4A3A4"/>
          </p15:clr>
        </p15:guide>
        <p15:guide id="2" orient="horz" pos="3978">
          <p15:clr>
            <a:srgbClr val="A4A3A4"/>
          </p15:clr>
        </p15:guide>
        <p15:guide id="3" pos="5197">
          <p15:clr>
            <a:srgbClr val="A4A3A4"/>
          </p15:clr>
        </p15:guide>
        <p15:guide id="4" pos="3613">
          <p15:clr>
            <a:srgbClr val="A4A3A4"/>
          </p15:clr>
        </p15:guide>
        <p15:guide id="5" pos="3461">
          <p15:clr>
            <a:srgbClr val="A4A3A4"/>
          </p15:clr>
        </p15:guide>
        <p15:guide id="6" pos="2035">
          <p15:clr>
            <a:srgbClr val="A4A3A4"/>
          </p15:clr>
        </p15:guide>
        <p15:guide id="7" pos="1880">
          <p15:clr>
            <a:srgbClr val="A4A3A4"/>
          </p15:clr>
        </p15:guide>
        <p15:guide id="8" pos="451">
          <p15:clr>
            <a:srgbClr val="A4A3A4"/>
          </p15:clr>
        </p15:guide>
        <p15:guide id="9" pos="6621">
          <p15:clr>
            <a:srgbClr val="A4A3A4"/>
          </p15:clr>
        </p15:guide>
        <p15:guide id="10" pos="6779">
          <p15:clr>
            <a:srgbClr val="A4A3A4"/>
          </p15:clr>
        </p15:guide>
        <p15:guide id="11" pos="8205">
          <p15:clr>
            <a:srgbClr val="A4A3A4"/>
          </p15:clr>
        </p15:guide>
        <p15:guide id="12" pos="8357">
          <p15:clr>
            <a:srgbClr val="A4A3A4"/>
          </p15:clr>
        </p15:guide>
        <p15:guide id="13" pos="9787">
          <p15:clr>
            <a:srgbClr val="A4A3A4"/>
          </p15:clr>
        </p15:guide>
        <p15:guide id="16" orient="horz" pos="3631">
          <p15:clr>
            <a:srgbClr val="F26B43"/>
          </p15:clr>
        </p15:guide>
        <p15:guide id="17" orient="horz" pos="346">
          <p15:clr>
            <a:srgbClr val="F26B43"/>
          </p15:clr>
        </p15:guide>
        <p15:guide id="18" orient="horz" pos="93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CAAE192-F52D-253F-F15A-897D0F8C18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399325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0" imgW="7772400" imgH="10058400" progId="TCLayout.ActiveDocument.1">
                  <p:embed/>
                </p:oleObj>
              </mc:Choice>
              <mc:Fallback>
                <p:oleObj name="Diapositive think-cell" r:id="rId10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AAE192-F52D-253F-F15A-897D0F8C18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136E54C2-1290-6A4B-B368-0ABD73C7D5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820" y="2095457"/>
            <a:ext cx="10914527" cy="52629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D61D422-DA27-184A-96A2-BEC59C50B8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1821" y="3111507"/>
            <a:ext cx="10914527" cy="19557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/>
              <a:t>Niveau 1</a:t>
            </a:r>
          </a:p>
          <a:p>
            <a:pPr lvl="1"/>
            <a:r>
              <a:rPr lang="fr-FR"/>
              <a:t>Niveau 2</a:t>
            </a:r>
          </a:p>
          <a:p>
            <a:pPr lvl="2"/>
            <a:r>
              <a:rPr lang="fr-FR"/>
              <a:t>Niveau 3</a:t>
            </a:r>
          </a:p>
          <a:p>
            <a:pPr lvl="3"/>
            <a:r>
              <a:rPr lang="fr-FR"/>
              <a:t>Niveau 4</a:t>
            </a:r>
          </a:p>
          <a:p>
            <a:pPr lvl="4"/>
            <a:r>
              <a:rPr lang="fr-FR"/>
              <a:t>Niveau 5</a:t>
            </a:r>
          </a:p>
        </p:txBody>
      </p:sp>
    </p:spTree>
    <p:extLst>
      <p:ext uri="{BB962C8B-B14F-4D97-AF65-F5344CB8AC3E}">
        <p14:creationId xmlns:p14="http://schemas.microsoft.com/office/powerpoint/2010/main" val="3445284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800" b="1" i="0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700" b="1" i="0" kern="1200" baseline="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2200" kern="1200" baseline="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600" kern="1200" baseline="0">
          <a:solidFill>
            <a:schemeClr val="bg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600" b="1" i="0" kern="1200" cap="none" baseline="0">
          <a:solidFill>
            <a:schemeClr val="accent3"/>
          </a:solidFill>
          <a:latin typeface="+mj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200" kern="1200" baseline="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82">
          <p15:clr>
            <a:srgbClr val="A4A3A4"/>
          </p15:clr>
        </p15:guide>
        <p15:guide id="2" orient="horz" pos="3978">
          <p15:clr>
            <a:srgbClr val="A4A3A4"/>
          </p15:clr>
        </p15:guide>
        <p15:guide id="3" pos="3898">
          <p15:clr>
            <a:srgbClr val="A4A3A4"/>
          </p15:clr>
        </p15:guide>
        <p15:guide id="4" pos="2710">
          <p15:clr>
            <a:srgbClr val="A4A3A4"/>
          </p15:clr>
        </p15:guide>
        <p15:guide id="5" pos="2596">
          <p15:clr>
            <a:srgbClr val="A4A3A4"/>
          </p15:clr>
        </p15:guide>
        <p15:guide id="6" pos="1526">
          <p15:clr>
            <a:srgbClr val="A4A3A4"/>
          </p15:clr>
        </p15:guide>
        <p15:guide id="7" pos="1410">
          <p15:clr>
            <a:srgbClr val="A4A3A4"/>
          </p15:clr>
        </p15:guide>
        <p15:guide id="8" pos="338">
          <p15:clr>
            <a:srgbClr val="A4A3A4"/>
          </p15:clr>
        </p15:guide>
        <p15:guide id="9" pos="4966">
          <p15:clr>
            <a:srgbClr val="A4A3A4"/>
          </p15:clr>
        </p15:guide>
        <p15:guide id="10" pos="5084">
          <p15:clr>
            <a:srgbClr val="A4A3A4"/>
          </p15:clr>
        </p15:guide>
        <p15:guide id="11" pos="6154">
          <p15:clr>
            <a:srgbClr val="A4A3A4"/>
          </p15:clr>
        </p15:guide>
        <p15:guide id="12" pos="6268">
          <p15:clr>
            <a:srgbClr val="A4A3A4"/>
          </p15:clr>
        </p15:guide>
        <p15:guide id="13" pos="7340">
          <p15:clr>
            <a:srgbClr val="A4A3A4"/>
          </p15:clr>
        </p15:guide>
        <p15:guide id="14" orient="horz" pos="340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slideLayout" Target="../slideLayouts/slideLayout27.xml"/><Relationship Id="rId18" Type="http://schemas.openxmlformats.org/officeDocument/2006/relationships/image" Target="../media/image36.svg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image" Target="../media/image35.png"/><Relationship Id="rId2" Type="http://schemas.openxmlformats.org/officeDocument/2006/relationships/tags" Target="../tags/tag30.xml"/><Relationship Id="rId16" Type="http://schemas.openxmlformats.org/officeDocument/2006/relationships/chart" Target="../charts/chart1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5" Type="http://schemas.openxmlformats.org/officeDocument/2006/relationships/tags" Target="../tags/tag33.xml"/><Relationship Id="rId15" Type="http://schemas.openxmlformats.org/officeDocument/2006/relationships/image" Target="../media/image28.emf"/><Relationship Id="rId10" Type="http://schemas.openxmlformats.org/officeDocument/2006/relationships/tags" Target="../tags/tag38.xml"/><Relationship Id="rId19" Type="http://schemas.openxmlformats.org/officeDocument/2006/relationships/image" Target="../media/image37.png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oleObject" Target="../embeddings/oleObject12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image" Target="../media/image28.emf"/><Relationship Id="rId3" Type="http://schemas.openxmlformats.org/officeDocument/2006/relationships/tags" Target="../tags/tag43.xml"/><Relationship Id="rId21" Type="http://schemas.openxmlformats.org/officeDocument/2006/relationships/tags" Target="../tags/tag61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oleObject" Target="../embeddings/oleObject13.bin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slideLayout" Target="../slideLayouts/slideLayout27.xml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tags" Target="../tags/tag63.xml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tags" Target="../tags/tag62.xml"/><Relationship Id="rId27" Type="http://schemas.openxmlformats.org/officeDocument/2006/relationships/chart" Target="../charts/char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tags" Target="../tags/tag76.xml"/><Relationship Id="rId18" Type="http://schemas.openxmlformats.org/officeDocument/2006/relationships/tags" Target="../tags/tag81.xml"/><Relationship Id="rId26" Type="http://schemas.openxmlformats.org/officeDocument/2006/relationships/image" Target="../media/image28.emf"/><Relationship Id="rId3" Type="http://schemas.openxmlformats.org/officeDocument/2006/relationships/tags" Target="../tags/tag66.xml"/><Relationship Id="rId21" Type="http://schemas.openxmlformats.org/officeDocument/2006/relationships/tags" Target="../tags/tag84.xml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tags" Target="../tags/tag80.xml"/><Relationship Id="rId25" Type="http://schemas.openxmlformats.org/officeDocument/2006/relationships/oleObject" Target="../embeddings/oleObject14.bin"/><Relationship Id="rId2" Type="http://schemas.openxmlformats.org/officeDocument/2006/relationships/tags" Target="../tags/tag65.xml"/><Relationship Id="rId16" Type="http://schemas.openxmlformats.org/officeDocument/2006/relationships/tags" Target="../tags/tag79.xml"/><Relationship Id="rId20" Type="http://schemas.openxmlformats.org/officeDocument/2006/relationships/tags" Target="../tags/tag83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24" Type="http://schemas.openxmlformats.org/officeDocument/2006/relationships/slideLayout" Target="../slideLayouts/slideLayout27.xml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tags" Target="../tags/tag86.xml"/><Relationship Id="rId10" Type="http://schemas.openxmlformats.org/officeDocument/2006/relationships/tags" Target="../tags/tag73.xml"/><Relationship Id="rId19" Type="http://schemas.openxmlformats.org/officeDocument/2006/relationships/tags" Target="../tags/tag82.xml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tags" Target="../tags/tag85.xml"/><Relationship Id="rId27" Type="http://schemas.openxmlformats.org/officeDocument/2006/relationships/chart" Target="../charts/char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tags" Target="../tags/tag99.xml"/><Relationship Id="rId18" Type="http://schemas.openxmlformats.org/officeDocument/2006/relationships/tags" Target="../tags/tag104.xml"/><Relationship Id="rId3" Type="http://schemas.openxmlformats.org/officeDocument/2006/relationships/tags" Target="../tags/tag89.xml"/><Relationship Id="rId21" Type="http://schemas.openxmlformats.org/officeDocument/2006/relationships/oleObject" Target="../embeddings/oleObject15.bin"/><Relationship Id="rId7" Type="http://schemas.openxmlformats.org/officeDocument/2006/relationships/tags" Target="../tags/tag93.xml"/><Relationship Id="rId12" Type="http://schemas.openxmlformats.org/officeDocument/2006/relationships/tags" Target="../tags/tag98.xml"/><Relationship Id="rId17" Type="http://schemas.openxmlformats.org/officeDocument/2006/relationships/tags" Target="../tags/tag103.xml"/><Relationship Id="rId2" Type="http://schemas.openxmlformats.org/officeDocument/2006/relationships/tags" Target="../tags/tag88.xml"/><Relationship Id="rId16" Type="http://schemas.openxmlformats.org/officeDocument/2006/relationships/tags" Target="../tags/tag102.xml"/><Relationship Id="rId20" Type="http://schemas.openxmlformats.org/officeDocument/2006/relationships/notesSlide" Target="../notesSlides/notesSlide3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1" Type="http://schemas.openxmlformats.org/officeDocument/2006/relationships/tags" Target="../tags/tag97.xml"/><Relationship Id="rId24" Type="http://schemas.openxmlformats.org/officeDocument/2006/relationships/image" Target="../media/image39.png"/><Relationship Id="rId5" Type="http://schemas.openxmlformats.org/officeDocument/2006/relationships/tags" Target="../tags/tag91.xml"/><Relationship Id="rId15" Type="http://schemas.openxmlformats.org/officeDocument/2006/relationships/tags" Target="../tags/tag101.xml"/><Relationship Id="rId23" Type="http://schemas.openxmlformats.org/officeDocument/2006/relationships/chart" Target="../charts/chart4.xml"/><Relationship Id="rId10" Type="http://schemas.openxmlformats.org/officeDocument/2006/relationships/tags" Target="../tags/tag96.xml"/><Relationship Id="rId19" Type="http://schemas.openxmlformats.org/officeDocument/2006/relationships/slideLayout" Target="../slideLayouts/slideLayout22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4" Type="http://schemas.openxmlformats.org/officeDocument/2006/relationships/tags" Target="../tags/tag100.xml"/><Relationship Id="rId22" Type="http://schemas.openxmlformats.org/officeDocument/2006/relationships/image" Target="../media/image38.emf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117.xml"/><Relationship Id="rId18" Type="http://schemas.openxmlformats.org/officeDocument/2006/relationships/tags" Target="../tags/tag122.xml"/><Relationship Id="rId26" Type="http://schemas.openxmlformats.org/officeDocument/2006/relationships/tags" Target="../tags/tag130.xml"/><Relationship Id="rId39" Type="http://schemas.openxmlformats.org/officeDocument/2006/relationships/tags" Target="../tags/tag143.xml"/><Relationship Id="rId21" Type="http://schemas.openxmlformats.org/officeDocument/2006/relationships/tags" Target="../tags/tag125.xml"/><Relationship Id="rId34" Type="http://schemas.openxmlformats.org/officeDocument/2006/relationships/tags" Target="../tags/tag138.xml"/><Relationship Id="rId42" Type="http://schemas.openxmlformats.org/officeDocument/2006/relationships/oleObject" Target="../embeddings/oleObject16.bin"/><Relationship Id="rId47" Type="http://schemas.openxmlformats.org/officeDocument/2006/relationships/image" Target="../media/image42.svg"/><Relationship Id="rId7" Type="http://schemas.openxmlformats.org/officeDocument/2006/relationships/tags" Target="../tags/tag111.xml"/><Relationship Id="rId2" Type="http://schemas.openxmlformats.org/officeDocument/2006/relationships/tags" Target="../tags/tag106.xml"/><Relationship Id="rId16" Type="http://schemas.openxmlformats.org/officeDocument/2006/relationships/tags" Target="../tags/tag120.xml"/><Relationship Id="rId29" Type="http://schemas.openxmlformats.org/officeDocument/2006/relationships/tags" Target="../tags/tag133.xml"/><Relationship Id="rId11" Type="http://schemas.openxmlformats.org/officeDocument/2006/relationships/tags" Target="../tags/tag115.xml"/><Relationship Id="rId24" Type="http://schemas.openxmlformats.org/officeDocument/2006/relationships/tags" Target="../tags/tag128.xml"/><Relationship Id="rId32" Type="http://schemas.openxmlformats.org/officeDocument/2006/relationships/tags" Target="../tags/tag136.xml"/><Relationship Id="rId37" Type="http://schemas.openxmlformats.org/officeDocument/2006/relationships/tags" Target="../tags/tag141.xml"/><Relationship Id="rId40" Type="http://schemas.openxmlformats.org/officeDocument/2006/relationships/tags" Target="../tags/tag144.xml"/><Relationship Id="rId45" Type="http://schemas.openxmlformats.org/officeDocument/2006/relationships/chart" Target="../charts/chart6.xml"/><Relationship Id="rId5" Type="http://schemas.openxmlformats.org/officeDocument/2006/relationships/tags" Target="../tags/tag109.xml"/><Relationship Id="rId15" Type="http://schemas.openxmlformats.org/officeDocument/2006/relationships/tags" Target="../tags/tag119.xml"/><Relationship Id="rId23" Type="http://schemas.openxmlformats.org/officeDocument/2006/relationships/tags" Target="../tags/tag127.xml"/><Relationship Id="rId28" Type="http://schemas.openxmlformats.org/officeDocument/2006/relationships/tags" Target="../tags/tag132.xml"/><Relationship Id="rId36" Type="http://schemas.openxmlformats.org/officeDocument/2006/relationships/tags" Target="../tags/tag140.xml"/><Relationship Id="rId49" Type="http://schemas.openxmlformats.org/officeDocument/2006/relationships/chart" Target="../charts/chart7.xml"/><Relationship Id="rId10" Type="http://schemas.openxmlformats.org/officeDocument/2006/relationships/tags" Target="../tags/tag114.xml"/><Relationship Id="rId19" Type="http://schemas.openxmlformats.org/officeDocument/2006/relationships/tags" Target="../tags/tag123.xml"/><Relationship Id="rId31" Type="http://schemas.openxmlformats.org/officeDocument/2006/relationships/tags" Target="../tags/tag135.xml"/><Relationship Id="rId44" Type="http://schemas.openxmlformats.org/officeDocument/2006/relationships/chart" Target="../charts/chart5.xml"/><Relationship Id="rId4" Type="http://schemas.openxmlformats.org/officeDocument/2006/relationships/tags" Target="../tags/tag108.xml"/><Relationship Id="rId9" Type="http://schemas.openxmlformats.org/officeDocument/2006/relationships/tags" Target="../tags/tag113.xml"/><Relationship Id="rId14" Type="http://schemas.openxmlformats.org/officeDocument/2006/relationships/tags" Target="../tags/tag118.xml"/><Relationship Id="rId22" Type="http://schemas.openxmlformats.org/officeDocument/2006/relationships/tags" Target="../tags/tag126.xml"/><Relationship Id="rId27" Type="http://schemas.openxmlformats.org/officeDocument/2006/relationships/tags" Target="../tags/tag131.xml"/><Relationship Id="rId30" Type="http://schemas.openxmlformats.org/officeDocument/2006/relationships/tags" Target="../tags/tag134.xml"/><Relationship Id="rId35" Type="http://schemas.openxmlformats.org/officeDocument/2006/relationships/tags" Target="../tags/tag139.xml"/><Relationship Id="rId43" Type="http://schemas.openxmlformats.org/officeDocument/2006/relationships/image" Target="../media/image40.emf"/><Relationship Id="rId48" Type="http://schemas.openxmlformats.org/officeDocument/2006/relationships/image" Target="../media/image43.png"/><Relationship Id="rId8" Type="http://schemas.openxmlformats.org/officeDocument/2006/relationships/tags" Target="../tags/tag112.xml"/><Relationship Id="rId3" Type="http://schemas.openxmlformats.org/officeDocument/2006/relationships/tags" Target="../tags/tag107.xml"/><Relationship Id="rId12" Type="http://schemas.openxmlformats.org/officeDocument/2006/relationships/tags" Target="../tags/tag116.xml"/><Relationship Id="rId17" Type="http://schemas.openxmlformats.org/officeDocument/2006/relationships/tags" Target="../tags/tag121.xml"/><Relationship Id="rId25" Type="http://schemas.openxmlformats.org/officeDocument/2006/relationships/tags" Target="../tags/tag129.xml"/><Relationship Id="rId33" Type="http://schemas.openxmlformats.org/officeDocument/2006/relationships/tags" Target="../tags/tag137.xml"/><Relationship Id="rId38" Type="http://schemas.openxmlformats.org/officeDocument/2006/relationships/tags" Target="../tags/tag142.xml"/><Relationship Id="rId46" Type="http://schemas.openxmlformats.org/officeDocument/2006/relationships/image" Target="../media/image41.png"/><Relationship Id="rId20" Type="http://schemas.openxmlformats.org/officeDocument/2006/relationships/tags" Target="../tags/tag124.xml"/><Relationship Id="rId41" Type="http://schemas.openxmlformats.org/officeDocument/2006/relationships/slideLayout" Target="../slideLayouts/slideLayout22.xml"/><Relationship Id="rId1" Type="http://schemas.openxmlformats.org/officeDocument/2006/relationships/tags" Target="../tags/tag105.xml"/><Relationship Id="rId6" Type="http://schemas.openxmlformats.org/officeDocument/2006/relationships/tags" Target="../tags/tag110.xml"/></Relationships>
</file>

<file path=ppt/slides/_rels/slide15.xml.rels><?xml version="1.0" encoding="UTF-8" standalone="yes"?>
<Relationships xmlns="http://schemas.openxmlformats.org/package/2006/relationships"><Relationship Id="rId26" Type="http://schemas.openxmlformats.org/officeDocument/2006/relationships/tags" Target="../tags/tag170.xml"/><Relationship Id="rId21" Type="http://schemas.openxmlformats.org/officeDocument/2006/relationships/tags" Target="../tags/tag165.xml"/><Relationship Id="rId42" Type="http://schemas.openxmlformats.org/officeDocument/2006/relationships/tags" Target="../tags/tag186.xml"/><Relationship Id="rId47" Type="http://schemas.openxmlformats.org/officeDocument/2006/relationships/tags" Target="../tags/tag191.xml"/><Relationship Id="rId63" Type="http://schemas.openxmlformats.org/officeDocument/2006/relationships/tags" Target="../tags/tag207.xml"/><Relationship Id="rId68" Type="http://schemas.openxmlformats.org/officeDocument/2006/relationships/tags" Target="../tags/tag212.xml"/><Relationship Id="rId16" Type="http://schemas.openxmlformats.org/officeDocument/2006/relationships/tags" Target="../tags/tag160.xml"/><Relationship Id="rId11" Type="http://schemas.openxmlformats.org/officeDocument/2006/relationships/tags" Target="../tags/tag155.xml"/><Relationship Id="rId24" Type="http://schemas.openxmlformats.org/officeDocument/2006/relationships/tags" Target="../tags/tag168.xml"/><Relationship Id="rId32" Type="http://schemas.openxmlformats.org/officeDocument/2006/relationships/tags" Target="../tags/tag176.xml"/><Relationship Id="rId37" Type="http://schemas.openxmlformats.org/officeDocument/2006/relationships/tags" Target="../tags/tag181.xml"/><Relationship Id="rId40" Type="http://schemas.openxmlformats.org/officeDocument/2006/relationships/tags" Target="../tags/tag184.xml"/><Relationship Id="rId45" Type="http://schemas.openxmlformats.org/officeDocument/2006/relationships/tags" Target="../tags/tag189.xml"/><Relationship Id="rId53" Type="http://schemas.openxmlformats.org/officeDocument/2006/relationships/tags" Target="../tags/tag197.xml"/><Relationship Id="rId58" Type="http://schemas.openxmlformats.org/officeDocument/2006/relationships/tags" Target="../tags/tag202.xml"/><Relationship Id="rId66" Type="http://schemas.openxmlformats.org/officeDocument/2006/relationships/tags" Target="../tags/tag210.xml"/><Relationship Id="rId74" Type="http://schemas.openxmlformats.org/officeDocument/2006/relationships/tags" Target="../tags/tag218.xml"/><Relationship Id="rId5" Type="http://schemas.openxmlformats.org/officeDocument/2006/relationships/tags" Target="../tags/tag149.xml"/><Relationship Id="rId61" Type="http://schemas.openxmlformats.org/officeDocument/2006/relationships/tags" Target="../tags/tag205.xml"/><Relationship Id="rId19" Type="http://schemas.openxmlformats.org/officeDocument/2006/relationships/tags" Target="../tags/tag163.xml"/><Relationship Id="rId14" Type="http://schemas.openxmlformats.org/officeDocument/2006/relationships/tags" Target="../tags/tag158.xml"/><Relationship Id="rId22" Type="http://schemas.openxmlformats.org/officeDocument/2006/relationships/tags" Target="../tags/tag166.xml"/><Relationship Id="rId27" Type="http://schemas.openxmlformats.org/officeDocument/2006/relationships/tags" Target="../tags/tag171.xml"/><Relationship Id="rId30" Type="http://schemas.openxmlformats.org/officeDocument/2006/relationships/tags" Target="../tags/tag174.xml"/><Relationship Id="rId35" Type="http://schemas.openxmlformats.org/officeDocument/2006/relationships/tags" Target="../tags/tag179.xml"/><Relationship Id="rId43" Type="http://schemas.openxmlformats.org/officeDocument/2006/relationships/tags" Target="../tags/tag187.xml"/><Relationship Id="rId48" Type="http://schemas.openxmlformats.org/officeDocument/2006/relationships/tags" Target="../tags/tag192.xml"/><Relationship Id="rId56" Type="http://schemas.openxmlformats.org/officeDocument/2006/relationships/tags" Target="../tags/tag200.xml"/><Relationship Id="rId64" Type="http://schemas.openxmlformats.org/officeDocument/2006/relationships/tags" Target="../tags/tag208.xml"/><Relationship Id="rId69" Type="http://schemas.openxmlformats.org/officeDocument/2006/relationships/tags" Target="../tags/tag213.xml"/><Relationship Id="rId77" Type="http://schemas.openxmlformats.org/officeDocument/2006/relationships/image" Target="../media/image40.emf"/><Relationship Id="rId8" Type="http://schemas.openxmlformats.org/officeDocument/2006/relationships/tags" Target="../tags/tag152.xml"/><Relationship Id="rId51" Type="http://schemas.openxmlformats.org/officeDocument/2006/relationships/tags" Target="../tags/tag195.xml"/><Relationship Id="rId72" Type="http://schemas.openxmlformats.org/officeDocument/2006/relationships/tags" Target="../tags/tag216.xml"/><Relationship Id="rId3" Type="http://schemas.openxmlformats.org/officeDocument/2006/relationships/tags" Target="../tags/tag147.xml"/><Relationship Id="rId12" Type="http://schemas.openxmlformats.org/officeDocument/2006/relationships/tags" Target="../tags/tag156.xml"/><Relationship Id="rId17" Type="http://schemas.openxmlformats.org/officeDocument/2006/relationships/tags" Target="../tags/tag161.xml"/><Relationship Id="rId25" Type="http://schemas.openxmlformats.org/officeDocument/2006/relationships/tags" Target="../tags/tag169.xml"/><Relationship Id="rId33" Type="http://schemas.openxmlformats.org/officeDocument/2006/relationships/tags" Target="../tags/tag177.xml"/><Relationship Id="rId38" Type="http://schemas.openxmlformats.org/officeDocument/2006/relationships/tags" Target="../tags/tag182.xml"/><Relationship Id="rId46" Type="http://schemas.openxmlformats.org/officeDocument/2006/relationships/tags" Target="../tags/tag190.xml"/><Relationship Id="rId59" Type="http://schemas.openxmlformats.org/officeDocument/2006/relationships/tags" Target="../tags/tag203.xml"/><Relationship Id="rId67" Type="http://schemas.openxmlformats.org/officeDocument/2006/relationships/tags" Target="../tags/tag211.xml"/><Relationship Id="rId20" Type="http://schemas.openxmlformats.org/officeDocument/2006/relationships/tags" Target="../tags/tag164.xml"/><Relationship Id="rId41" Type="http://schemas.openxmlformats.org/officeDocument/2006/relationships/tags" Target="../tags/tag185.xml"/><Relationship Id="rId54" Type="http://schemas.openxmlformats.org/officeDocument/2006/relationships/tags" Target="../tags/tag198.xml"/><Relationship Id="rId62" Type="http://schemas.openxmlformats.org/officeDocument/2006/relationships/tags" Target="../tags/tag206.xml"/><Relationship Id="rId70" Type="http://schemas.openxmlformats.org/officeDocument/2006/relationships/tags" Target="../tags/tag214.xml"/><Relationship Id="rId75" Type="http://schemas.openxmlformats.org/officeDocument/2006/relationships/slideLayout" Target="../slideLayouts/slideLayout22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15" Type="http://schemas.openxmlformats.org/officeDocument/2006/relationships/tags" Target="../tags/tag159.xml"/><Relationship Id="rId23" Type="http://schemas.openxmlformats.org/officeDocument/2006/relationships/tags" Target="../tags/tag167.xml"/><Relationship Id="rId28" Type="http://schemas.openxmlformats.org/officeDocument/2006/relationships/tags" Target="../tags/tag172.xml"/><Relationship Id="rId36" Type="http://schemas.openxmlformats.org/officeDocument/2006/relationships/tags" Target="../tags/tag180.xml"/><Relationship Id="rId49" Type="http://schemas.openxmlformats.org/officeDocument/2006/relationships/tags" Target="../tags/tag193.xml"/><Relationship Id="rId57" Type="http://schemas.openxmlformats.org/officeDocument/2006/relationships/tags" Target="../tags/tag201.xml"/><Relationship Id="rId10" Type="http://schemas.openxmlformats.org/officeDocument/2006/relationships/tags" Target="../tags/tag154.xml"/><Relationship Id="rId31" Type="http://schemas.openxmlformats.org/officeDocument/2006/relationships/tags" Target="../tags/tag175.xml"/><Relationship Id="rId44" Type="http://schemas.openxmlformats.org/officeDocument/2006/relationships/tags" Target="../tags/tag188.xml"/><Relationship Id="rId52" Type="http://schemas.openxmlformats.org/officeDocument/2006/relationships/tags" Target="../tags/tag196.xml"/><Relationship Id="rId60" Type="http://schemas.openxmlformats.org/officeDocument/2006/relationships/tags" Target="../tags/tag204.xml"/><Relationship Id="rId65" Type="http://schemas.openxmlformats.org/officeDocument/2006/relationships/tags" Target="../tags/tag209.xml"/><Relationship Id="rId73" Type="http://schemas.openxmlformats.org/officeDocument/2006/relationships/tags" Target="../tags/tag217.xml"/><Relationship Id="rId78" Type="http://schemas.openxmlformats.org/officeDocument/2006/relationships/chart" Target="../charts/chart8.xml"/><Relationship Id="rId4" Type="http://schemas.openxmlformats.org/officeDocument/2006/relationships/tags" Target="../tags/tag148.xml"/><Relationship Id="rId9" Type="http://schemas.openxmlformats.org/officeDocument/2006/relationships/tags" Target="../tags/tag153.xml"/><Relationship Id="rId13" Type="http://schemas.openxmlformats.org/officeDocument/2006/relationships/tags" Target="../tags/tag157.xml"/><Relationship Id="rId18" Type="http://schemas.openxmlformats.org/officeDocument/2006/relationships/tags" Target="../tags/tag162.xml"/><Relationship Id="rId39" Type="http://schemas.openxmlformats.org/officeDocument/2006/relationships/tags" Target="../tags/tag183.xml"/><Relationship Id="rId34" Type="http://schemas.openxmlformats.org/officeDocument/2006/relationships/tags" Target="../tags/tag178.xml"/><Relationship Id="rId50" Type="http://schemas.openxmlformats.org/officeDocument/2006/relationships/tags" Target="../tags/tag194.xml"/><Relationship Id="rId55" Type="http://schemas.openxmlformats.org/officeDocument/2006/relationships/tags" Target="../tags/tag199.xml"/><Relationship Id="rId76" Type="http://schemas.openxmlformats.org/officeDocument/2006/relationships/oleObject" Target="../embeddings/oleObject17.bin"/><Relationship Id="rId7" Type="http://schemas.openxmlformats.org/officeDocument/2006/relationships/tags" Target="../tags/tag151.xml"/><Relationship Id="rId71" Type="http://schemas.openxmlformats.org/officeDocument/2006/relationships/tags" Target="../tags/tag215.xml"/><Relationship Id="rId2" Type="http://schemas.openxmlformats.org/officeDocument/2006/relationships/tags" Target="../tags/tag146.xml"/><Relationship Id="rId29" Type="http://schemas.openxmlformats.org/officeDocument/2006/relationships/tags" Target="../tags/tag173.xml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231.xml"/><Relationship Id="rId18" Type="http://schemas.openxmlformats.org/officeDocument/2006/relationships/tags" Target="../tags/tag236.xml"/><Relationship Id="rId26" Type="http://schemas.openxmlformats.org/officeDocument/2006/relationships/tags" Target="../tags/tag244.xml"/><Relationship Id="rId39" Type="http://schemas.openxmlformats.org/officeDocument/2006/relationships/tags" Target="../tags/tag257.xml"/><Relationship Id="rId21" Type="http://schemas.openxmlformats.org/officeDocument/2006/relationships/tags" Target="../tags/tag239.xml"/><Relationship Id="rId34" Type="http://schemas.openxmlformats.org/officeDocument/2006/relationships/tags" Target="../tags/tag252.xml"/><Relationship Id="rId42" Type="http://schemas.openxmlformats.org/officeDocument/2006/relationships/tags" Target="../tags/tag260.xml"/><Relationship Id="rId47" Type="http://schemas.openxmlformats.org/officeDocument/2006/relationships/tags" Target="../tags/tag265.xml"/><Relationship Id="rId50" Type="http://schemas.openxmlformats.org/officeDocument/2006/relationships/image" Target="../media/image40.emf"/><Relationship Id="rId7" Type="http://schemas.openxmlformats.org/officeDocument/2006/relationships/tags" Target="../tags/tag225.xml"/><Relationship Id="rId2" Type="http://schemas.openxmlformats.org/officeDocument/2006/relationships/tags" Target="../tags/tag220.xml"/><Relationship Id="rId16" Type="http://schemas.openxmlformats.org/officeDocument/2006/relationships/tags" Target="../tags/tag234.xml"/><Relationship Id="rId29" Type="http://schemas.openxmlformats.org/officeDocument/2006/relationships/tags" Target="../tags/tag247.xml"/><Relationship Id="rId11" Type="http://schemas.openxmlformats.org/officeDocument/2006/relationships/tags" Target="../tags/tag229.xml"/><Relationship Id="rId24" Type="http://schemas.openxmlformats.org/officeDocument/2006/relationships/tags" Target="../tags/tag242.xml"/><Relationship Id="rId32" Type="http://schemas.openxmlformats.org/officeDocument/2006/relationships/tags" Target="../tags/tag250.xml"/><Relationship Id="rId37" Type="http://schemas.openxmlformats.org/officeDocument/2006/relationships/tags" Target="../tags/tag255.xml"/><Relationship Id="rId40" Type="http://schemas.openxmlformats.org/officeDocument/2006/relationships/tags" Target="../tags/tag258.xml"/><Relationship Id="rId45" Type="http://schemas.openxmlformats.org/officeDocument/2006/relationships/tags" Target="../tags/tag263.xml"/><Relationship Id="rId5" Type="http://schemas.openxmlformats.org/officeDocument/2006/relationships/tags" Target="../tags/tag223.xml"/><Relationship Id="rId15" Type="http://schemas.openxmlformats.org/officeDocument/2006/relationships/tags" Target="../tags/tag233.xml"/><Relationship Id="rId23" Type="http://schemas.openxmlformats.org/officeDocument/2006/relationships/tags" Target="../tags/tag241.xml"/><Relationship Id="rId28" Type="http://schemas.openxmlformats.org/officeDocument/2006/relationships/tags" Target="../tags/tag246.xml"/><Relationship Id="rId36" Type="http://schemas.openxmlformats.org/officeDocument/2006/relationships/tags" Target="../tags/tag254.xml"/><Relationship Id="rId49" Type="http://schemas.openxmlformats.org/officeDocument/2006/relationships/oleObject" Target="../embeddings/oleObject18.bin"/><Relationship Id="rId10" Type="http://schemas.openxmlformats.org/officeDocument/2006/relationships/tags" Target="../tags/tag228.xml"/><Relationship Id="rId19" Type="http://schemas.openxmlformats.org/officeDocument/2006/relationships/tags" Target="../tags/tag237.xml"/><Relationship Id="rId31" Type="http://schemas.openxmlformats.org/officeDocument/2006/relationships/tags" Target="../tags/tag249.xml"/><Relationship Id="rId44" Type="http://schemas.openxmlformats.org/officeDocument/2006/relationships/tags" Target="../tags/tag262.xml"/><Relationship Id="rId4" Type="http://schemas.openxmlformats.org/officeDocument/2006/relationships/tags" Target="../tags/tag222.xml"/><Relationship Id="rId9" Type="http://schemas.openxmlformats.org/officeDocument/2006/relationships/tags" Target="../tags/tag227.xml"/><Relationship Id="rId14" Type="http://schemas.openxmlformats.org/officeDocument/2006/relationships/tags" Target="../tags/tag232.xml"/><Relationship Id="rId22" Type="http://schemas.openxmlformats.org/officeDocument/2006/relationships/tags" Target="../tags/tag240.xml"/><Relationship Id="rId27" Type="http://schemas.openxmlformats.org/officeDocument/2006/relationships/tags" Target="../tags/tag245.xml"/><Relationship Id="rId30" Type="http://schemas.openxmlformats.org/officeDocument/2006/relationships/tags" Target="../tags/tag248.xml"/><Relationship Id="rId35" Type="http://schemas.openxmlformats.org/officeDocument/2006/relationships/tags" Target="../tags/tag253.xml"/><Relationship Id="rId43" Type="http://schemas.openxmlformats.org/officeDocument/2006/relationships/tags" Target="../tags/tag261.xml"/><Relationship Id="rId48" Type="http://schemas.openxmlformats.org/officeDocument/2006/relationships/slideLayout" Target="../slideLayouts/slideLayout22.xml"/><Relationship Id="rId8" Type="http://schemas.openxmlformats.org/officeDocument/2006/relationships/tags" Target="../tags/tag226.xml"/><Relationship Id="rId51" Type="http://schemas.openxmlformats.org/officeDocument/2006/relationships/chart" Target="../charts/chart9.xml"/><Relationship Id="rId3" Type="http://schemas.openxmlformats.org/officeDocument/2006/relationships/tags" Target="../tags/tag221.xml"/><Relationship Id="rId12" Type="http://schemas.openxmlformats.org/officeDocument/2006/relationships/tags" Target="../tags/tag230.xml"/><Relationship Id="rId17" Type="http://schemas.openxmlformats.org/officeDocument/2006/relationships/tags" Target="../tags/tag235.xml"/><Relationship Id="rId25" Type="http://schemas.openxmlformats.org/officeDocument/2006/relationships/tags" Target="../tags/tag243.xml"/><Relationship Id="rId33" Type="http://schemas.openxmlformats.org/officeDocument/2006/relationships/tags" Target="../tags/tag251.xml"/><Relationship Id="rId38" Type="http://schemas.openxmlformats.org/officeDocument/2006/relationships/tags" Target="../tags/tag256.xml"/><Relationship Id="rId46" Type="http://schemas.openxmlformats.org/officeDocument/2006/relationships/tags" Target="../tags/tag264.xml"/><Relationship Id="rId20" Type="http://schemas.openxmlformats.org/officeDocument/2006/relationships/tags" Target="../tags/tag238.xml"/><Relationship Id="rId41" Type="http://schemas.openxmlformats.org/officeDocument/2006/relationships/tags" Target="../tags/tag259.xml"/><Relationship Id="rId1" Type="http://schemas.openxmlformats.org/officeDocument/2006/relationships/tags" Target="../tags/tag219.xml"/><Relationship Id="rId6" Type="http://schemas.openxmlformats.org/officeDocument/2006/relationships/tags" Target="../tags/tag224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278.xml"/><Relationship Id="rId18" Type="http://schemas.openxmlformats.org/officeDocument/2006/relationships/tags" Target="../tags/tag283.xml"/><Relationship Id="rId26" Type="http://schemas.openxmlformats.org/officeDocument/2006/relationships/tags" Target="../tags/tag291.xml"/><Relationship Id="rId39" Type="http://schemas.openxmlformats.org/officeDocument/2006/relationships/tags" Target="../tags/tag304.xml"/><Relationship Id="rId21" Type="http://schemas.openxmlformats.org/officeDocument/2006/relationships/tags" Target="../tags/tag286.xml"/><Relationship Id="rId34" Type="http://schemas.openxmlformats.org/officeDocument/2006/relationships/tags" Target="../tags/tag299.xml"/><Relationship Id="rId42" Type="http://schemas.openxmlformats.org/officeDocument/2006/relationships/tags" Target="../tags/tag307.xml"/><Relationship Id="rId47" Type="http://schemas.openxmlformats.org/officeDocument/2006/relationships/tags" Target="../tags/tag312.xml"/><Relationship Id="rId50" Type="http://schemas.openxmlformats.org/officeDocument/2006/relationships/image" Target="../media/image44.emf"/><Relationship Id="rId55" Type="http://schemas.openxmlformats.org/officeDocument/2006/relationships/image" Target="../media/image43.png"/><Relationship Id="rId7" Type="http://schemas.openxmlformats.org/officeDocument/2006/relationships/tags" Target="../tags/tag272.xml"/><Relationship Id="rId2" Type="http://schemas.openxmlformats.org/officeDocument/2006/relationships/tags" Target="../tags/tag267.xml"/><Relationship Id="rId16" Type="http://schemas.openxmlformats.org/officeDocument/2006/relationships/tags" Target="../tags/tag281.xml"/><Relationship Id="rId29" Type="http://schemas.openxmlformats.org/officeDocument/2006/relationships/tags" Target="../tags/tag294.xml"/><Relationship Id="rId11" Type="http://schemas.openxmlformats.org/officeDocument/2006/relationships/tags" Target="../tags/tag276.xml"/><Relationship Id="rId24" Type="http://schemas.openxmlformats.org/officeDocument/2006/relationships/tags" Target="../tags/tag289.xml"/><Relationship Id="rId32" Type="http://schemas.openxmlformats.org/officeDocument/2006/relationships/tags" Target="../tags/tag297.xml"/><Relationship Id="rId37" Type="http://schemas.openxmlformats.org/officeDocument/2006/relationships/tags" Target="../tags/tag302.xml"/><Relationship Id="rId40" Type="http://schemas.openxmlformats.org/officeDocument/2006/relationships/tags" Target="../tags/tag305.xml"/><Relationship Id="rId45" Type="http://schemas.openxmlformats.org/officeDocument/2006/relationships/tags" Target="../tags/tag310.xml"/><Relationship Id="rId53" Type="http://schemas.openxmlformats.org/officeDocument/2006/relationships/image" Target="../media/image41.png"/><Relationship Id="rId5" Type="http://schemas.openxmlformats.org/officeDocument/2006/relationships/tags" Target="../tags/tag270.xml"/><Relationship Id="rId10" Type="http://schemas.openxmlformats.org/officeDocument/2006/relationships/tags" Target="../tags/tag275.xml"/><Relationship Id="rId19" Type="http://schemas.openxmlformats.org/officeDocument/2006/relationships/tags" Target="../tags/tag284.xml"/><Relationship Id="rId31" Type="http://schemas.openxmlformats.org/officeDocument/2006/relationships/tags" Target="../tags/tag296.xml"/><Relationship Id="rId44" Type="http://schemas.openxmlformats.org/officeDocument/2006/relationships/tags" Target="../tags/tag309.xml"/><Relationship Id="rId52" Type="http://schemas.openxmlformats.org/officeDocument/2006/relationships/chart" Target="../charts/chart11.xml"/><Relationship Id="rId4" Type="http://schemas.openxmlformats.org/officeDocument/2006/relationships/tags" Target="../tags/tag269.xml"/><Relationship Id="rId9" Type="http://schemas.openxmlformats.org/officeDocument/2006/relationships/tags" Target="../tags/tag274.xml"/><Relationship Id="rId14" Type="http://schemas.openxmlformats.org/officeDocument/2006/relationships/tags" Target="../tags/tag279.xml"/><Relationship Id="rId22" Type="http://schemas.openxmlformats.org/officeDocument/2006/relationships/tags" Target="../tags/tag287.xml"/><Relationship Id="rId27" Type="http://schemas.openxmlformats.org/officeDocument/2006/relationships/tags" Target="../tags/tag292.xml"/><Relationship Id="rId30" Type="http://schemas.openxmlformats.org/officeDocument/2006/relationships/tags" Target="../tags/tag295.xml"/><Relationship Id="rId35" Type="http://schemas.openxmlformats.org/officeDocument/2006/relationships/tags" Target="../tags/tag300.xml"/><Relationship Id="rId43" Type="http://schemas.openxmlformats.org/officeDocument/2006/relationships/tags" Target="../tags/tag308.xml"/><Relationship Id="rId48" Type="http://schemas.openxmlformats.org/officeDocument/2006/relationships/slideLayout" Target="../slideLayouts/slideLayout22.xml"/><Relationship Id="rId8" Type="http://schemas.openxmlformats.org/officeDocument/2006/relationships/tags" Target="../tags/tag273.xml"/><Relationship Id="rId51" Type="http://schemas.openxmlformats.org/officeDocument/2006/relationships/chart" Target="../charts/chart10.xml"/><Relationship Id="rId3" Type="http://schemas.openxmlformats.org/officeDocument/2006/relationships/tags" Target="../tags/tag268.xml"/><Relationship Id="rId12" Type="http://schemas.openxmlformats.org/officeDocument/2006/relationships/tags" Target="../tags/tag277.xml"/><Relationship Id="rId17" Type="http://schemas.openxmlformats.org/officeDocument/2006/relationships/tags" Target="../tags/tag282.xml"/><Relationship Id="rId25" Type="http://schemas.openxmlformats.org/officeDocument/2006/relationships/tags" Target="../tags/tag290.xml"/><Relationship Id="rId33" Type="http://schemas.openxmlformats.org/officeDocument/2006/relationships/tags" Target="../tags/tag298.xml"/><Relationship Id="rId38" Type="http://schemas.openxmlformats.org/officeDocument/2006/relationships/tags" Target="../tags/tag303.xml"/><Relationship Id="rId46" Type="http://schemas.openxmlformats.org/officeDocument/2006/relationships/tags" Target="../tags/tag311.xml"/><Relationship Id="rId20" Type="http://schemas.openxmlformats.org/officeDocument/2006/relationships/tags" Target="../tags/tag285.xml"/><Relationship Id="rId41" Type="http://schemas.openxmlformats.org/officeDocument/2006/relationships/tags" Target="../tags/tag306.xml"/><Relationship Id="rId54" Type="http://schemas.openxmlformats.org/officeDocument/2006/relationships/image" Target="../media/image42.svg"/><Relationship Id="rId1" Type="http://schemas.openxmlformats.org/officeDocument/2006/relationships/tags" Target="../tags/tag266.xml"/><Relationship Id="rId6" Type="http://schemas.openxmlformats.org/officeDocument/2006/relationships/tags" Target="../tags/tag271.xml"/><Relationship Id="rId15" Type="http://schemas.openxmlformats.org/officeDocument/2006/relationships/tags" Target="../tags/tag280.xml"/><Relationship Id="rId23" Type="http://schemas.openxmlformats.org/officeDocument/2006/relationships/tags" Target="../tags/tag288.xml"/><Relationship Id="rId28" Type="http://schemas.openxmlformats.org/officeDocument/2006/relationships/tags" Target="../tags/tag293.xml"/><Relationship Id="rId36" Type="http://schemas.openxmlformats.org/officeDocument/2006/relationships/tags" Target="../tags/tag301.xml"/><Relationship Id="rId49" Type="http://schemas.openxmlformats.org/officeDocument/2006/relationships/oleObject" Target="../embeddings/oleObject19.bin"/></Relationships>
</file>

<file path=ppt/slides/_rels/slide18.xml.rels><?xml version="1.0" encoding="UTF-8" standalone="yes"?>
<Relationships xmlns="http://schemas.openxmlformats.org/package/2006/relationships"><Relationship Id="rId26" Type="http://schemas.openxmlformats.org/officeDocument/2006/relationships/tags" Target="../tags/tag338.xml"/><Relationship Id="rId21" Type="http://schemas.openxmlformats.org/officeDocument/2006/relationships/tags" Target="../tags/tag333.xml"/><Relationship Id="rId34" Type="http://schemas.openxmlformats.org/officeDocument/2006/relationships/tags" Target="../tags/tag346.xml"/><Relationship Id="rId42" Type="http://schemas.openxmlformats.org/officeDocument/2006/relationships/tags" Target="../tags/tag354.xml"/><Relationship Id="rId47" Type="http://schemas.openxmlformats.org/officeDocument/2006/relationships/tags" Target="../tags/tag359.xml"/><Relationship Id="rId50" Type="http://schemas.openxmlformats.org/officeDocument/2006/relationships/tags" Target="../tags/tag362.xml"/><Relationship Id="rId55" Type="http://schemas.openxmlformats.org/officeDocument/2006/relationships/tags" Target="../tags/tag367.xml"/><Relationship Id="rId63" Type="http://schemas.openxmlformats.org/officeDocument/2006/relationships/image" Target="../media/image43.png"/><Relationship Id="rId7" Type="http://schemas.openxmlformats.org/officeDocument/2006/relationships/tags" Target="../tags/tag319.xml"/><Relationship Id="rId2" Type="http://schemas.openxmlformats.org/officeDocument/2006/relationships/tags" Target="../tags/tag314.xml"/><Relationship Id="rId16" Type="http://schemas.openxmlformats.org/officeDocument/2006/relationships/tags" Target="../tags/tag328.xml"/><Relationship Id="rId29" Type="http://schemas.openxmlformats.org/officeDocument/2006/relationships/tags" Target="../tags/tag341.xml"/><Relationship Id="rId11" Type="http://schemas.openxmlformats.org/officeDocument/2006/relationships/tags" Target="../tags/tag323.xml"/><Relationship Id="rId24" Type="http://schemas.openxmlformats.org/officeDocument/2006/relationships/tags" Target="../tags/tag336.xml"/><Relationship Id="rId32" Type="http://schemas.openxmlformats.org/officeDocument/2006/relationships/tags" Target="../tags/tag344.xml"/><Relationship Id="rId37" Type="http://schemas.openxmlformats.org/officeDocument/2006/relationships/tags" Target="../tags/tag349.xml"/><Relationship Id="rId40" Type="http://schemas.openxmlformats.org/officeDocument/2006/relationships/tags" Target="../tags/tag352.xml"/><Relationship Id="rId45" Type="http://schemas.openxmlformats.org/officeDocument/2006/relationships/tags" Target="../tags/tag357.xml"/><Relationship Id="rId53" Type="http://schemas.openxmlformats.org/officeDocument/2006/relationships/tags" Target="../tags/tag365.xml"/><Relationship Id="rId58" Type="http://schemas.openxmlformats.org/officeDocument/2006/relationships/oleObject" Target="../embeddings/oleObject20.bin"/><Relationship Id="rId5" Type="http://schemas.openxmlformats.org/officeDocument/2006/relationships/tags" Target="../tags/tag317.xml"/><Relationship Id="rId61" Type="http://schemas.openxmlformats.org/officeDocument/2006/relationships/image" Target="../media/image41.png"/><Relationship Id="rId19" Type="http://schemas.openxmlformats.org/officeDocument/2006/relationships/tags" Target="../tags/tag331.xml"/><Relationship Id="rId14" Type="http://schemas.openxmlformats.org/officeDocument/2006/relationships/tags" Target="../tags/tag326.xml"/><Relationship Id="rId22" Type="http://schemas.openxmlformats.org/officeDocument/2006/relationships/tags" Target="../tags/tag334.xml"/><Relationship Id="rId27" Type="http://schemas.openxmlformats.org/officeDocument/2006/relationships/tags" Target="../tags/tag339.xml"/><Relationship Id="rId30" Type="http://schemas.openxmlformats.org/officeDocument/2006/relationships/tags" Target="../tags/tag342.xml"/><Relationship Id="rId35" Type="http://schemas.openxmlformats.org/officeDocument/2006/relationships/tags" Target="../tags/tag347.xml"/><Relationship Id="rId43" Type="http://schemas.openxmlformats.org/officeDocument/2006/relationships/tags" Target="../tags/tag355.xml"/><Relationship Id="rId48" Type="http://schemas.openxmlformats.org/officeDocument/2006/relationships/tags" Target="../tags/tag360.xml"/><Relationship Id="rId56" Type="http://schemas.openxmlformats.org/officeDocument/2006/relationships/tags" Target="../tags/tag368.xml"/><Relationship Id="rId64" Type="http://schemas.openxmlformats.org/officeDocument/2006/relationships/chart" Target="../charts/chart13.xml"/><Relationship Id="rId8" Type="http://schemas.openxmlformats.org/officeDocument/2006/relationships/tags" Target="../tags/tag320.xml"/><Relationship Id="rId51" Type="http://schemas.openxmlformats.org/officeDocument/2006/relationships/tags" Target="../tags/tag363.xml"/><Relationship Id="rId3" Type="http://schemas.openxmlformats.org/officeDocument/2006/relationships/tags" Target="../tags/tag315.xml"/><Relationship Id="rId12" Type="http://schemas.openxmlformats.org/officeDocument/2006/relationships/tags" Target="../tags/tag324.xml"/><Relationship Id="rId17" Type="http://schemas.openxmlformats.org/officeDocument/2006/relationships/tags" Target="../tags/tag329.xml"/><Relationship Id="rId25" Type="http://schemas.openxmlformats.org/officeDocument/2006/relationships/tags" Target="../tags/tag337.xml"/><Relationship Id="rId33" Type="http://schemas.openxmlformats.org/officeDocument/2006/relationships/tags" Target="../tags/tag345.xml"/><Relationship Id="rId38" Type="http://schemas.openxmlformats.org/officeDocument/2006/relationships/tags" Target="../tags/tag350.xml"/><Relationship Id="rId46" Type="http://schemas.openxmlformats.org/officeDocument/2006/relationships/tags" Target="../tags/tag358.xml"/><Relationship Id="rId59" Type="http://schemas.openxmlformats.org/officeDocument/2006/relationships/image" Target="../media/image44.emf"/><Relationship Id="rId20" Type="http://schemas.openxmlformats.org/officeDocument/2006/relationships/tags" Target="../tags/tag332.xml"/><Relationship Id="rId41" Type="http://schemas.openxmlformats.org/officeDocument/2006/relationships/tags" Target="../tags/tag353.xml"/><Relationship Id="rId54" Type="http://schemas.openxmlformats.org/officeDocument/2006/relationships/tags" Target="../tags/tag366.xml"/><Relationship Id="rId62" Type="http://schemas.openxmlformats.org/officeDocument/2006/relationships/image" Target="../media/image42.svg"/><Relationship Id="rId1" Type="http://schemas.openxmlformats.org/officeDocument/2006/relationships/tags" Target="../tags/tag313.xml"/><Relationship Id="rId6" Type="http://schemas.openxmlformats.org/officeDocument/2006/relationships/tags" Target="../tags/tag318.xml"/><Relationship Id="rId15" Type="http://schemas.openxmlformats.org/officeDocument/2006/relationships/tags" Target="../tags/tag327.xml"/><Relationship Id="rId23" Type="http://schemas.openxmlformats.org/officeDocument/2006/relationships/tags" Target="../tags/tag335.xml"/><Relationship Id="rId28" Type="http://schemas.openxmlformats.org/officeDocument/2006/relationships/tags" Target="../tags/tag340.xml"/><Relationship Id="rId36" Type="http://schemas.openxmlformats.org/officeDocument/2006/relationships/tags" Target="../tags/tag348.xml"/><Relationship Id="rId49" Type="http://schemas.openxmlformats.org/officeDocument/2006/relationships/tags" Target="../tags/tag361.xml"/><Relationship Id="rId57" Type="http://schemas.openxmlformats.org/officeDocument/2006/relationships/slideLayout" Target="../slideLayouts/slideLayout22.xml"/><Relationship Id="rId10" Type="http://schemas.openxmlformats.org/officeDocument/2006/relationships/tags" Target="../tags/tag322.xml"/><Relationship Id="rId31" Type="http://schemas.openxmlformats.org/officeDocument/2006/relationships/tags" Target="../tags/tag343.xml"/><Relationship Id="rId44" Type="http://schemas.openxmlformats.org/officeDocument/2006/relationships/tags" Target="../tags/tag356.xml"/><Relationship Id="rId52" Type="http://schemas.openxmlformats.org/officeDocument/2006/relationships/tags" Target="../tags/tag364.xml"/><Relationship Id="rId60" Type="http://schemas.openxmlformats.org/officeDocument/2006/relationships/chart" Target="../charts/chart12.xml"/><Relationship Id="rId65" Type="http://schemas.openxmlformats.org/officeDocument/2006/relationships/chart" Target="../charts/chart14.xml"/><Relationship Id="rId4" Type="http://schemas.openxmlformats.org/officeDocument/2006/relationships/tags" Target="../tags/tag316.xml"/><Relationship Id="rId9" Type="http://schemas.openxmlformats.org/officeDocument/2006/relationships/tags" Target="../tags/tag321.xml"/><Relationship Id="rId13" Type="http://schemas.openxmlformats.org/officeDocument/2006/relationships/tags" Target="../tags/tag325.xml"/><Relationship Id="rId18" Type="http://schemas.openxmlformats.org/officeDocument/2006/relationships/tags" Target="../tags/tag330.xml"/><Relationship Id="rId39" Type="http://schemas.openxmlformats.org/officeDocument/2006/relationships/tags" Target="../tags/tag351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381.xml"/><Relationship Id="rId18" Type="http://schemas.openxmlformats.org/officeDocument/2006/relationships/tags" Target="../tags/tag386.xml"/><Relationship Id="rId26" Type="http://schemas.openxmlformats.org/officeDocument/2006/relationships/tags" Target="../tags/tag394.xml"/><Relationship Id="rId39" Type="http://schemas.openxmlformats.org/officeDocument/2006/relationships/tags" Target="../tags/tag407.xml"/><Relationship Id="rId21" Type="http://schemas.openxmlformats.org/officeDocument/2006/relationships/tags" Target="../tags/tag389.xml"/><Relationship Id="rId34" Type="http://schemas.openxmlformats.org/officeDocument/2006/relationships/tags" Target="../tags/tag402.xml"/><Relationship Id="rId42" Type="http://schemas.openxmlformats.org/officeDocument/2006/relationships/tags" Target="../tags/tag410.xml"/><Relationship Id="rId47" Type="http://schemas.openxmlformats.org/officeDocument/2006/relationships/tags" Target="../tags/tag415.xml"/><Relationship Id="rId50" Type="http://schemas.openxmlformats.org/officeDocument/2006/relationships/notesSlide" Target="../notesSlides/notesSlide4.xml"/><Relationship Id="rId55" Type="http://schemas.openxmlformats.org/officeDocument/2006/relationships/image" Target="../media/image42.svg"/><Relationship Id="rId7" Type="http://schemas.openxmlformats.org/officeDocument/2006/relationships/tags" Target="../tags/tag375.xml"/><Relationship Id="rId2" Type="http://schemas.openxmlformats.org/officeDocument/2006/relationships/tags" Target="../tags/tag370.xml"/><Relationship Id="rId16" Type="http://schemas.openxmlformats.org/officeDocument/2006/relationships/tags" Target="../tags/tag384.xml"/><Relationship Id="rId29" Type="http://schemas.openxmlformats.org/officeDocument/2006/relationships/tags" Target="../tags/tag397.xml"/><Relationship Id="rId11" Type="http://schemas.openxmlformats.org/officeDocument/2006/relationships/tags" Target="../tags/tag379.xml"/><Relationship Id="rId24" Type="http://schemas.openxmlformats.org/officeDocument/2006/relationships/tags" Target="../tags/tag392.xml"/><Relationship Id="rId32" Type="http://schemas.openxmlformats.org/officeDocument/2006/relationships/tags" Target="../tags/tag400.xml"/><Relationship Id="rId37" Type="http://schemas.openxmlformats.org/officeDocument/2006/relationships/tags" Target="../tags/tag405.xml"/><Relationship Id="rId40" Type="http://schemas.openxmlformats.org/officeDocument/2006/relationships/tags" Target="../tags/tag408.xml"/><Relationship Id="rId45" Type="http://schemas.openxmlformats.org/officeDocument/2006/relationships/tags" Target="../tags/tag413.xml"/><Relationship Id="rId53" Type="http://schemas.openxmlformats.org/officeDocument/2006/relationships/chart" Target="../charts/chart15.xml"/><Relationship Id="rId58" Type="http://schemas.openxmlformats.org/officeDocument/2006/relationships/chart" Target="../charts/chart17.xml"/><Relationship Id="rId5" Type="http://schemas.openxmlformats.org/officeDocument/2006/relationships/tags" Target="../tags/tag373.xml"/><Relationship Id="rId19" Type="http://schemas.openxmlformats.org/officeDocument/2006/relationships/tags" Target="../tags/tag387.xml"/><Relationship Id="rId4" Type="http://schemas.openxmlformats.org/officeDocument/2006/relationships/tags" Target="../tags/tag372.xml"/><Relationship Id="rId9" Type="http://schemas.openxmlformats.org/officeDocument/2006/relationships/tags" Target="../tags/tag377.xml"/><Relationship Id="rId14" Type="http://schemas.openxmlformats.org/officeDocument/2006/relationships/tags" Target="../tags/tag382.xml"/><Relationship Id="rId22" Type="http://schemas.openxmlformats.org/officeDocument/2006/relationships/tags" Target="../tags/tag390.xml"/><Relationship Id="rId27" Type="http://schemas.openxmlformats.org/officeDocument/2006/relationships/tags" Target="../tags/tag395.xml"/><Relationship Id="rId30" Type="http://schemas.openxmlformats.org/officeDocument/2006/relationships/tags" Target="../tags/tag398.xml"/><Relationship Id="rId35" Type="http://schemas.openxmlformats.org/officeDocument/2006/relationships/tags" Target="../tags/tag403.xml"/><Relationship Id="rId43" Type="http://schemas.openxmlformats.org/officeDocument/2006/relationships/tags" Target="../tags/tag411.xml"/><Relationship Id="rId48" Type="http://schemas.openxmlformats.org/officeDocument/2006/relationships/tags" Target="../tags/tag416.xml"/><Relationship Id="rId56" Type="http://schemas.openxmlformats.org/officeDocument/2006/relationships/image" Target="../media/image43.png"/><Relationship Id="rId8" Type="http://schemas.openxmlformats.org/officeDocument/2006/relationships/tags" Target="../tags/tag376.xml"/><Relationship Id="rId51" Type="http://schemas.openxmlformats.org/officeDocument/2006/relationships/oleObject" Target="../embeddings/oleObject21.bin"/><Relationship Id="rId3" Type="http://schemas.openxmlformats.org/officeDocument/2006/relationships/tags" Target="../tags/tag371.xml"/><Relationship Id="rId12" Type="http://schemas.openxmlformats.org/officeDocument/2006/relationships/tags" Target="../tags/tag380.xml"/><Relationship Id="rId17" Type="http://schemas.openxmlformats.org/officeDocument/2006/relationships/tags" Target="../tags/tag385.xml"/><Relationship Id="rId25" Type="http://schemas.openxmlformats.org/officeDocument/2006/relationships/tags" Target="../tags/tag393.xml"/><Relationship Id="rId33" Type="http://schemas.openxmlformats.org/officeDocument/2006/relationships/tags" Target="../tags/tag401.xml"/><Relationship Id="rId38" Type="http://schemas.openxmlformats.org/officeDocument/2006/relationships/tags" Target="../tags/tag406.xml"/><Relationship Id="rId46" Type="http://schemas.openxmlformats.org/officeDocument/2006/relationships/tags" Target="../tags/tag414.xml"/><Relationship Id="rId59" Type="http://schemas.openxmlformats.org/officeDocument/2006/relationships/chart" Target="../charts/chart18.xml"/><Relationship Id="rId20" Type="http://schemas.openxmlformats.org/officeDocument/2006/relationships/tags" Target="../tags/tag388.xml"/><Relationship Id="rId41" Type="http://schemas.openxmlformats.org/officeDocument/2006/relationships/tags" Target="../tags/tag409.xml"/><Relationship Id="rId54" Type="http://schemas.openxmlformats.org/officeDocument/2006/relationships/image" Target="../media/image41.png"/><Relationship Id="rId1" Type="http://schemas.openxmlformats.org/officeDocument/2006/relationships/tags" Target="../tags/tag369.xml"/><Relationship Id="rId6" Type="http://schemas.openxmlformats.org/officeDocument/2006/relationships/tags" Target="../tags/tag374.xml"/><Relationship Id="rId15" Type="http://schemas.openxmlformats.org/officeDocument/2006/relationships/tags" Target="../tags/tag383.xml"/><Relationship Id="rId23" Type="http://schemas.openxmlformats.org/officeDocument/2006/relationships/tags" Target="../tags/tag391.xml"/><Relationship Id="rId28" Type="http://schemas.openxmlformats.org/officeDocument/2006/relationships/tags" Target="../tags/tag396.xml"/><Relationship Id="rId36" Type="http://schemas.openxmlformats.org/officeDocument/2006/relationships/tags" Target="../tags/tag404.xml"/><Relationship Id="rId49" Type="http://schemas.openxmlformats.org/officeDocument/2006/relationships/slideLayout" Target="../slideLayouts/slideLayout22.xml"/><Relationship Id="rId57" Type="http://schemas.openxmlformats.org/officeDocument/2006/relationships/chart" Target="../charts/chart16.xml"/><Relationship Id="rId10" Type="http://schemas.openxmlformats.org/officeDocument/2006/relationships/tags" Target="../tags/tag378.xml"/><Relationship Id="rId31" Type="http://schemas.openxmlformats.org/officeDocument/2006/relationships/tags" Target="../tags/tag399.xml"/><Relationship Id="rId44" Type="http://schemas.openxmlformats.org/officeDocument/2006/relationships/tags" Target="../tags/tag412.xml"/><Relationship Id="rId52" Type="http://schemas.openxmlformats.org/officeDocument/2006/relationships/image" Target="../media/image38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6.xml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tags" Target="../tags/tag429.xml"/><Relationship Id="rId18" Type="http://schemas.openxmlformats.org/officeDocument/2006/relationships/tags" Target="../tags/tag434.xml"/><Relationship Id="rId26" Type="http://schemas.openxmlformats.org/officeDocument/2006/relationships/tags" Target="../tags/tag442.xml"/><Relationship Id="rId39" Type="http://schemas.openxmlformats.org/officeDocument/2006/relationships/image" Target="../media/image45.emf"/><Relationship Id="rId21" Type="http://schemas.openxmlformats.org/officeDocument/2006/relationships/tags" Target="../tags/tag437.xml"/><Relationship Id="rId34" Type="http://schemas.openxmlformats.org/officeDocument/2006/relationships/tags" Target="../tags/tag450.xml"/><Relationship Id="rId42" Type="http://schemas.openxmlformats.org/officeDocument/2006/relationships/image" Target="../media/image42.svg"/><Relationship Id="rId47" Type="http://schemas.openxmlformats.org/officeDocument/2006/relationships/image" Target="../media/image47.svg"/><Relationship Id="rId7" Type="http://schemas.openxmlformats.org/officeDocument/2006/relationships/tags" Target="../tags/tag423.xml"/><Relationship Id="rId2" Type="http://schemas.openxmlformats.org/officeDocument/2006/relationships/tags" Target="../tags/tag418.xml"/><Relationship Id="rId16" Type="http://schemas.openxmlformats.org/officeDocument/2006/relationships/tags" Target="../tags/tag432.xml"/><Relationship Id="rId29" Type="http://schemas.openxmlformats.org/officeDocument/2006/relationships/tags" Target="../tags/tag445.xml"/><Relationship Id="rId1" Type="http://schemas.openxmlformats.org/officeDocument/2006/relationships/tags" Target="../tags/tag417.xml"/><Relationship Id="rId6" Type="http://schemas.openxmlformats.org/officeDocument/2006/relationships/tags" Target="../tags/tag422.xml"/><Relationship Id="rId11" Type="http://schemas.openxmlformats.org/officeDocument/2006/relationships/tags" Target="../tags/tag427.xml"/><Relationship Id="rId24" Type="http://schemas.openxmlformats.org/officeDocument/2006/relationships/tags" Target="../tags/tag440.xml"/><Relationship Id="rId32" Type="http://schemas.openxmlformats.org/officeDocument/2006/relationships/tags" Target="../tags/tag448.xml"/><Relationship Id="rId37" Type="http://schemas.openxmlformats.org/officeDocument/2006/relationships/slideLayout" Target="../slideLayouts/slideLayout22.xml"/><Relationship Id="rId40" Type="http://schemas.openxmlformats.org/officeDocument/2006/relationships/chart" Target="../charts/chart19.xml"/><Relationship Id="rId45" Type="http://schemas.openxmlformats.org/officeDocument/2006/relationships/chart" Target="../charts/chart21.xml"/><Relationship Id="rId5" Type="http://schemas.openxmlformats.org/officeDocument/2006/relationships/tags" Target="../tags/tag421.xml"/><Relationship Id="rId15" Type="http://schemas.openxmlformats.org/officeDocument/2006/relationships/tags" Target="../tags/tag431.xml"/><Relationship Id="rId23" Type="http://schemas.openxmlformats.org/officeDocument/2006/relationships/tags" Target="../tags/tag439.xml"/><Relationship Id="rId28" Type="http://schemas.openxmlformats.org/officeDocument/2006/relationships/tags" Target="../tags/tag444.xml"/><Relationship Id="rId36" Type="http://schemas.openxmlformats.org/officeDocument/2006/relationships/tags" Target="../tags/tag452.xml"/><Relationship Id="rId10" Type="http://schemas.openxmlformats.org/officeDocument/2006/relationships/tags" Target="../tags/tag426.xml"/><Relationship Id="rId19" Type="http://schemas.openxmlformats.org/officeDocument/2006/relationships/tags" Target="../tags/tag435.xml"/><Relationship Id="rId31" Type="http://schemas.openxmlformats.org/officeDocument/2006/relationships/tags" Target="../tags/tag447.xml"/><Relationship Id="rId44" Type="http://schemas.openxmlformats.org/officeDocument/2006/relationships/chart" Target="../charts/chart20.xml"/><Relationship Id="rId4" Type="http://schemas.openxmlformats.org/officeDocument/2006/relationships/tags" Target="../tags/tag420.xml"/><Relationship Id="rId9" Type="http://schemas.openxmlformats.org/officeDocument/2006/relationships/tags" Target="../tags/tag425.xml"/><Relationship Id="rId14" Type="http://schemas.openxmlformats.org/officeDocument/2006/relationships/tags" Target="../tags/tag430.xml"/><Relationship Id="rId22" Type="http://schemas.openxmlformats.org/officeDocument/2006/relationships/tags" Target="../tags/tag438.xml"/><Relationship Id="rId27" Type="http://schemas.openxmlformats.org/officeDocument/2006/relationships/tags" Target="../tags/tag443.xml"/><Relationship Id="rId30" Type="http://schemas.openxmlformats.org/officeDocument/2006/relationships/tags" Target="../tags/tag446.xml"/><Relationship Id="rId35" Type="http://schemas.openxmlformats.org/officeDocument/2006/relationships/tags" Target="../tags/tag451.xml"/><Relationship Id="rId43" Type="http://schemas.openxmlformats.org/officeDocument/2006/relationships/image" Target="../media/image43.png"/><Relationship Id="rId8" Type="http://schemas.openxmlformats.org/officeDocument/2006/relationships/tags" Target="../tags/tag424.xml"/><Relationship Id="rId3" Type="http://schemas.openxmlformats.org/officeDocument/2006/relationships/tags" Target="../tags/tag419.xml"/><Relationship Id="rId12" Type="http://schemas.openxmlformats.org/officeDocument/2006/relationships/tags" Target="../tags/tag428.xml"/><Relationship Id="rId17" Type="http://schemas.openxmlformats.org/officeDocument/2006/relationships/tags" Target="../tags/tag433.xml"/><Relationship Id="rId25" Type="http://schemas.openxmlformats.org/officeDocument/2006/relationships/tags" Target="../tags/tag441.xml"/><Relationship Id="rId33" Type="http://schemas.openxmlformats.org/officeDocument/2006/relationships/tags" Target="../tags/tag449.xml"/><Relationship Id="rId38" Type="http://schemas.openxmlformats.org/officeDocument/2006/relationships/oleObject" Target="../embeddings/oleObject22.bin"/><Relationship Id="rId46" Type="http://schemas.openxmlformats.org/officeDocument/2006/relationships/image" Target="../media/image46.png"/><Relationship Id="rId20" Type="http://schemas.openxmlformats.org/officeDocument/2006/relationships/tags" Target="../tags/tag436.xml"/><Relationship Id="rId41" Type="http://schemas.openxmlformats.org/officeDocument/2006/relationships/image" Target="../media/image4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50.svg"/><Relationship Id="rId2" Type="http://schemas.openxmlformats.org/officeDocument/2006/relationships/tags" Target="../tags/tag454.xml"/><Relationship Id="rId1" Type="http://schemas.openxmlformats.org/officeDocument/2006/relationships/tags" Target="../tags/tag453.xml"/><Relationship Id="rId6" Type="http://schemas.openxmlformats.org/officeDocument/2006/relationships/image" Target="../media/image49.png"/><Relationship Id="rId5" Type="http://schemas.openxmlformats.org/officeDocument/2006/relationships/image" Target="../media/image48.emf"/><Relationship Id="rId4" Type="http://schemas.openxmlformats.org/officeDocument/2006/relationships/oleObject" Target="../embeddings/oleObject23.bin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5" Type="http://schemas.openxmlformats.org/officeDocument/2006/relationships/image" Target="../media/image25.png"/><Relationship Id="rId4" Type="http://schemas.openxmlformats.org/officeDocument/2006/relationships/image" Target="../media/image24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26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oleObject" Target="../embeddings/oleObject11.bin"/><Relationship Id="rId3" Type="http://schemas.openxmlformats.org/officeDocument/2006/relationships/tags" Target="../tags/tag15.xml"/><Relationship Id="rId21" Type="http://schemas.openxmlformats.org/officeDocument/2006/relationships/image" Target="../media/image30.svg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slideLayout" Target="../slideLayouts/slideLayout27.xml"/><Relationship Id="rId25" Type="http://schemas.openxmlformats.org/officeDocument/2006/relationships/image" Target="../media/image34.svg"/><Relationship Id="rId2" Type="http://schemas.openxmlformats.org/officeDocument/2006/relationships/tags" Target="../tags/tag14.xml"/><Relationship Id="rId16" Type="http://schemas.openxmlformats.org/officeDocument/2006/relationships/tags" Target="../tags/tag28.xml"/><Relationship Id="rId20" Type="http://schemas.openxmlformats.org/officeDocument/2006/relationships/image" Target="../media/image29.png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24" Type="http://schemas.openxmlformats.org/officeDocument/2006/relationships/image" Target="../media/image33.png"/><Relationship Id="rId5" Type="http://schemas.openxmlformats.org/officeDocument/2006/relationships/tags" Target="../tags/tag17.xml"/><Relationship Id="rId15" Type="http://schemas.openxmlformats.org/officeDocument/2006/relationships/tags" Target="../tags/tag27.xml"/><Relationship Id="rId23" Type="http://schemas.openxmlformats.org/officeDocument/2006/relationships/image" Target="../media/image32.svg"/><Relationship Id="rId10" Type="http://schemas.openxmlformats.org/officeDocument/2006/relationships/tags" Target="../tags/tag22.xml"/><Relationship Id="rId19" Type="http://schemas.openxmlformats.org/officeDocument/2006/relationships/image" Target="../media/image28.emf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tags" Target="../tags/tag26.xml"/><Relationship Id="rId22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C215298-F0FC-0983-897C-09C40BB6C4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302748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7772400" imgH="10058400" progId="TCLayout.ActiveDocument.1">
                  <p:embed/>
                </p:oleObj>
              </mc:Choice>
              <mc:Fallback>
                <p:oleObj name="Diapositive think-cell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215298-F0FC-0983-897C-09C40BB6C4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re 7">
            <a:extLst>
              <a:ext uri="{FF2B5EF4-FFF2-40B4-BE49-F238E27FC236}">
                <a16:creationId xmlns:a16="http://schemas.microsoft.com/office/drawing/2014/main" id="{CF58EB02-F15E-254D-8FE4-8DA09B197E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821" y="2373775"/>
            <a:ext cx="6941509" cy="1052596"/>
          </a:xfrm>
        </p:spPr>
        <p:txBody>
          <a:bodyPr vert="horz"/>
          <a:lstStyle/>
          <a:p>
            <a:r>
              <a:rPr lang="fr-FR" sz="4000" b="0">
                <a:solidFill>
                  <a:schemeClr val="bg1"/>
                </a:solidFill>
                <a:latin typeface="CocogooseProNarrow Light" pitchFamily="2" charset="0"/>
              </a:rPr>
              <a:t>[Webinaire]</a:t>
            </a:r>
            <a:br>
              <a:rPr lang="fr-FR" sz="4000" b="0">
                <a:solidFill>
                  <a:schemeClr val="bg1"/>
                </a:solidFill>
                <a:latin typeface="+mj-lt"/>
              </a:rPr>
            </a:br>
            <a:r>
              <a:rPr lang="fr-FR" sz="4000" b="0">
                <a:solidFill>
                  <a:schemeClr val="bg1"/>
                </a:solidFill>
                <a:latin typeface="+mj-lt"/>
              </a:rPr>
              <a:t>Résultats et présentation de l’outil web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0684F74-EF10-4347-9023-DC067BA279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1819" y="1309040"/>
            <a:ext cx="3584575" cy="319926"/>
          </a:xfrm>
        </p:spPr>
        <p:txBody>
          <a:bodyPr/>
          <a:lstStyle/>
          <a:p>
            <a:pPr marL="0" indent="0">
              <a:buNone/>
            </a:pPr>
            <a:r>
              <a:rPr lang="fr-FR">
                <a:solidFill>
                  <a:schemeClr val="accent2"/>
                </a:solidFill>
                <a:ea typeface="Inter" panose="02000503000000020004" pitchFamily="2" charset="0"/>
              </a:rPr>
              <a:t>Décembre 2025 </a:t>
            </a:r>
            <a:endParaRPr lang="fr-FR">
              <a:solidFill>
                <a:schemeClr val="accent2"/>
              </a:solidFill>
              <a:latin typeface="CocogooseProNarrow Light" pitchFamily="2" charset="0"/>
              <a:ea typeface="Inter" panose="02000503000000020004" pitchFamily="2" charset="0"/>
            </a:endParaRP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BB611AB7-226F-0D47-A3E4-258CB27FCC9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algn="l">
              <a:spcAft>
                <a:spcPts val="600"/>
              </a:spcAft>
            </a:pPr>
            <a:r>
              <a:rPr lang="fr-FR">
                <a:latin typeface="CocogooseProNarrow Light"/>
              </a:rPr>
              <a:t>Roman Ledoux </a:t>
            </a:r>
            <a:endParaRPr lang="fr-FR">
              <a:latin typeface="CocogooseProNarrow Light" pitchFamily="2" charset="0"/>
            </a:endParaRPr>
          </a:p>
          <a:p>
            <a:pPr algn="l">
              <a:spcAft>
                <a:spcPts val="600"/>
              </a:spcAft>
            </a:pPr>
            <a:r>
              <a:rPr lang="fr-FR">
                <a:latin typeface="CocogooseProNarrow Light"/>
              </a:rPr>
              <a:t>Romaric Maire</a:t>
            </a:r>
            <a:endParaRPr lang="fr-FR">
              <a:latin typeface="CocogooseProNarrow Light" pitchFamily="2" charset="0"/>
            </a:endParaRPr>
          </a:p>
          <a:p>
            <a:pPr algn="l">
              <a:spcAft>
                <a:spcPts val="600"/>
              </a:spcAft>
            </a:pPr>
            <a:r>
              <a:rPr lang="fr-FR">
                <a:latin typeface="CocogooseProNarrow Light"/>
              </a:rPr>
              <a:t>Carles Ponsa Sala</a:t>
            </a:r>
            <a:endParaRPr lang="fr-FR">
              <a:latin typeface="CocogooseProNarrow Light" pitchFamily="2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3F9CA5C-D2B3-734D-8A42-501A265BC911}"/>
              </a:ext>
            </a:extLst>
          </p:cNvPr>
          <p:cNvSpPr/>
          <p:nvPr/>
        </p:nvSpPr>
        <p:spPr>
          <a:xfrm>
            <a:off x="489447" y="219493"/>
            <a:ext cx="11325901" cy="67161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ADB2DE0A-CBAF-B546-A010-CD8FC928C63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69422" y="417112"/>
            <a:ext cx="1511999" cy="451424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751F590A-F118-2A5E-C728-9DF3F6896E6D}"/>
              </a:ext>
            </a:extLst>
          </p:cNvPr>
          <p:cNvSpPr txBox="1"/>
          <p:nvPr/>
        </p:nvSpPr>
        <p:spPr>
          <a:xfrm>
            <a:off x="4657725" y="-2800350"/>
            <a:ext cx="6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fr-FR" sz="1400"/>
          </a:p>
        </p:txBody>
      </p:sp>
      <p:pic>
        <p:nvPicPr>
          <p:cNvPr id="3" name="Image 2" descr="Une image contenant Police, Graphique, graphisme, logo&#10;&#10;Description générée automatiquement">
            <a:extLst>
              <a:ext uri="{FF2B5EF4-FFF2-40B4-BE49-F238E27FC236}">
                <a16:creationId xmlns:a16="http://schemas.microsoft.com/office/drawing/2014/main" id="{EF050B28-7C2A-87A4-828E-4C34B1E069E0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819" y="583425"/>
            <a:ext cx="1116160" cy="281509"/>
          </a:xfrm>
          <a:prstGeom prst="rect">
            <a:avLst/>
          </a:prstGeom>
        </p:spPr>
      </p:pic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21ADB6D3-6AA9-90FD-FA5E-D8ADA360CE1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49201" y="5572124"/>
            <a:ext cx="3853138" cy="961410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  <a:spcAft>
                <a:spcPts val="100"/>
              </a:spcAft>
            </a:pPr>
            <a:r>
              <a:rPr lang="fr-FR">
                <a:latin typeface="Century Gothic"/>
              </a:rPr>
              <a:t>Directeur MyCO2</a:t>
            </a:r>
            <a:endParaRPr lang="fr-FR"/>
          </a:p>
          <a:p>
            <a:pPr>
              <a:lnSpc>
                <a:spcPct val="100000"/>
              </a:lnSpc>
              <a:spcAft>
                <a:spcPts val="100"/>
              </a:spcAft>
            </a:pPr>
            <a:r>
              <a:rPr lang="fr-FR">
                <a:latin typeface="Century Gothic"/>
              </a:rPr>
              <a:t>Kinésithérapeute et Ingénieur</a:t>
            </a:r>
            <a:endParaRPr lang="fr-FR"/>
          </a:p>
          <a:p>
            <a:pPr>
              <a:lnSpc>
                <a:spcPct val="100000"/>
              </a:lnSpc>
              <a:spcAft>
                <a:spcPts val="100"/>
              </a:spcAft>
            </a:pPr>
            <a:r>
              <a:rPr lang="fr-FR">
                <a:latin typeface="Century Gothic"/>
              </a:rPr>
              <a:t>Consultant Carbone 4</a:t>
            </a:r>
            <a:endParaRPr lang="fr-FR"/>
          </a:p>
          <a:p>
            <a:pPr>
              <a:lnSpc>
                <a:spcPct val="100000"/>
              </a:lnSpc>
            </a:pPr>
            <a:endParaRPr lang="fr-FR"/>
          </a:p>
        </p:txBody>
      </p:sp>
      <p:pic>
        <p:nvPicPr>
          <p:cNvPr id="13" name="Image 12" descr="Une image contenant Police, Graphique, logo, graphisme&#10;&#10;Description générée automatiquement">
            <a:extLst>
              <a:ext uri="{FF2B5EF4-FFF2-40B4-BE49-F238E27FC236}">
                <a16:creationId xmlns:a16="http://schemas.microsoft.com/office/drawing/2014/main" id="{56F80EAA-7E06-21D5-7603-B21F61F5BCC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46180" y="2784778"/>
            <a:ext cx="4782089" cy="2046437"/>
          </a:xfrm>
          <a:prstGeom prst="rect">
            <a:avLst/>
          </a:prstGeom>
        </p:spPr>
      </p:pic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EBD33EFE-029F-38EC-8E84-7B15F3A7E3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86566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49E9B2-9942-8DFA-E222-2672960B88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45363C37-AA2D-7109-5BDA-6E0E1A9302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7658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4" imgW="7772400" imgH="10058400" progId="TCLayout.ActiveDocument.1">
                  <p:embed/>
                </p:oleObj>
              </mc:Choice>
              <mc:Fallback>
                <p:oleObj name="Diapositive think-cell" r:id="rId14" imgW="7772400" imgH="10058400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363C37-AA2D-7109-5BDA-6E0E1A9302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C5B435B-16E2-6AB3-76D3-40D9F89D45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B5A6716-DBF2-AF4C-9665-1BA53E8D7A19}" type="slidenum">
              <a:rPr lang="fr-FR" smtClean="0"/>
              <a:pPr/>
              <a:t>10</a:t>
            </a:fld>
            <a:endParaRPr lang="fr-FR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73421681-6FE2-D231-3F88-FA0059971157}"/>
              </a:ext>
            </a:extLst>
          </p:cNvPr>
          <p:cNvSpPr txBox="1">
            <a:spLocks/>
          </p:cNvSpPr>
          <p:nvPr/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5A6716-DBF2-AF4C-9665-1BA53E8D7A19}" type="slidenum">
              <a:rPr lang="fr-FR" smtClean="0"/>
              <a:pPr/>
              <a:t>10</a:t>
            </a:fld>
            <a:endParaRPr lang="fr-FR"/>
          </a:p>
        </p:txBody>
      </p:sp>
      <p:sp>
        <p:nvSpPr>
          <p:cNvPr id="14" name="Titre 2">
            <a:extLst>
              <a:ext uri="{FF2B5EF4-FFF2-40B4-BE49-F238E27FC236}">
                <a16:creationId xmlns:a16="http://schemas.microsoft.com/office/drawing/2014/main" id="{DF899C2C-5101-A675-D24F-F52C2B9EEE30}"/>
              </a:ext>
            </a:extLst>
          </p:cNvPr>
          <p:cNvSpPr txBox="1">
            <a:spLocks/>
          </p:cNvSpPr>
          <p:nvPr/>
        </p:nvSpPr>
        <p:spPr>
          <a:xfrm>
            <a:off x="536574" y="314960"/>
            <a:ext cx="11115675" cy="8964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i="0" kern="1200" baseline="0">
                <a:solidFill>
                  <a:schemeClr val="accent1"/>
                </a:solidFill>
                <a:latin typeface="CocogooseProNarrow Darkmode" panose="00000400000000000000" pitchFamily="2" charset="0"/>
                <a:ea typeface="+mj-ea"/>
                <a:cs typeface="+mj-cs"/>
              </a:defRPr>
            </a:lvl1pPr>
          </a:lstStyle>
          <a:p>
            <a:r>
              <a:rPr lang="fr-FR"/>
              <a:t>L’empreinte carbone peut varier considérablement selon le lieu où elle est pratiquée </a:t>
            </a:r>
            <a:endParaRPr lang="fr-FR" noProof="0"/>
          </a:p>
        </p:txBody>
      </p:sp>
      <p:graphicFrame>
        <p:nvGraphicFramePr>
          <p:cNvPr id="7" name="Chart 3">
            <a:extLst>
              <a:ext uri="{FF2B5EF4-FFF2-40B4-BE49-F238E27FC236}">
                <a16:creationId xmlns:a16="http://schemas.microsoft.com/office/drawing/2014/main" id="{C2B07709-DFC2-0B3C-07CE-BC1C9D757E2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6285575"/>
              </p:ext>
            </p:extLst>
          </p:nvPr>
        </p:nvGraphicFramePr>
        <p:xfrm>
          <a:off x="487363" y="2014538"/>
          <a:ext cx="6056312" cy="3922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AAAE611C-D2E8-4657-3F71-EC63E3BDB679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3514725" y="2116138"/>
            <a:ext cx="0" cy="20653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1D3AE283-09C1-2CED-D06A-561B33CE0EFA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5478463" y="2116138"/>
            <a:ext cx="0" cy="23987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2EEF6717-282E-7F53-6AB5-2D0072424F0C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550988" y="2116138"/>
            <a:ext cx="39274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F3E9B806-AE26-77EC-21DA-959938487EA3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1550988" y="211613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Espace réservé du texte 4">
            <a:extLst>
              <a:ext uri="{FF2B5EF4-FFF2-40B4-BE49-F238E27FC236}">
                <a16:creationId xmlns:a16="http://schemas.microsoft.com/office/drawing/2014/main" id="{7981B3EF-C1F8-BB48-36D1-9BA030007B7C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03325" y="5689600"/>
            <a:ext cx="695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D41011FA-55D0-454C-B905-2AD7F3AAF02D}" type="datetime'Ca''b''i''''n''''''''''''''''''''''''e''''''''''t'''''''''">
              <a:rPr lang="fr-FR" altLang="en-US" b="1" smtClean="0">
                <a:solidFill>
                  <a:srgbClr val="000000"/>
                </a:solidFill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Cabinet</a:t>
            </a:fld>
            <a:endParaRPr lang="fr-FR" b="1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F85E2BF8-7F3D-643C-D44C-904F8510434C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5170488" y="5689600"/>
            <a:ext cx="6175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C9B708FB-6C70-45BF-9954-F748D1908AEE}" type="datetime'''''E''H''''''''''''''''''''''P''''AD'''''''''''''''''''">
              <a:rPr lang="fr-FR" altLang="en-US" b="1" smtClean="0">
                <a:solidFill>
                  <a:srgbClr val="000000"/>
                </a:solidFill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EHPAD</a:t>
            </a:fld>
            <a:endParaRPr lang="fr-FR" b="1">
              <a:solidFill>
                <a:srgbClr val="000000"/>
              </a:solidFill>
              <a:latin typeface="+mn-lt"/>
            </a:endParaRPr>
          </a:p>
        </p:txBody>
      </p:sp>
      <p:sp>
        <p:nvSpPr>
          <p:cNvPr id="30" name="Espace réservé du texte 4">
            <a:extLst>
              <a:ext uri="{FF2B5EF4-FFF2-40B4-BE49-F238E27FC236}">
                <a16:creationId xmlns:a16="http://schemas.microsoft.com/office/drawing/2014/main" id="{00C24F26-7BE2-DE72-3157-EEA00CDA220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2744788" y="5689600"/>
            <a:ext cx="15398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63B6F8A2-0C23-4B48-AF35-FD628EB5BFB5}" type="datetime'''''''V''i''''si''t''''e''''''s'' ''à'''' d''''omic''''il''e'">
              <a:rPr lang="fr-FR" altLang="en-US" b="1" smtClean="0">
                <a:solidFill>
                  <a:srgbClr val="000000"/>
                </a:solidFill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Visites à domicile</a:t>
            </a:fld>
            <a:endParaRPr lang="fr-FR" b="1">
              <a:solidFill>
                <a:srgbClr val="000000"/>
              </a:solidFill>
              <a:latin typeface="+mn-lt"/>
            </a:endParaRPr>
          </a:p>
        </p:txBody>
      </p:sp>
      <p:sp>
        <p:nvSpPr>
          <p:cNvPr id="31" name="Espace réservé du texte 4">
            <a:extLst>
              <a:ext uri="{FF2B5EF4-FFF2-40B4-BE49-F238E27FC236}">
                <a16:creationId xmlns:a16="http://schemas.microsoft.com/office/drawing/2014/main" id="{6DD5686A-C597-ACC4-2ECE-F27D90B4CF22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2198687" y="1979613"/>
            <a:ext cx="668338" cy="273050"/>
          </a:xfrm>
          <a:prstGeom prst="ellipse">
            <a:avLst/>
          </a:prstGeom>
          <a:solidFill>
            <a:schemeClr val="bg1"/>
          </a:solidFill>
          <a:ln w="9525" cmpd="sng">
            <a:noFill/>
          </a:ln>
          <a:effectLst/>
          <a:extLst>
            <a:ext uri="{91240B29-F687-4F45-9708-019B960494DF}">
              <a14:hiddenLine xmlns:a14="http://schemas.microsoft.com/office/drawing/2010/main" w="9525" cmpd="sng">
                <a:solidFill>
                  <a:schemeClr val="tx1"/>
                </a:solidFill>
              </a14:hiddenLine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FB8CDB06-26B8-4000-A3BC-6F8BD28BDB96}" type="datetime'''''''-''''''''''63''''%'''">
              <a:rPr lang="fr-FR" altLang="en-US" b="1" smtClean="0">
                <a:solidFill>
                  <a:srgbClr val="000000"/>
                </a:solidFill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-63%</a:t>
            </a:fld>
            <a:endParaRPr lang="fr-FR" b="1">
              <a:solidFill>
                <a:srgbClr val="000000"/>
              </a:solidFill>
              <a:latin typeface="+mn-lt"/>
            </a:endParaRPr>
          </a:p>
        </p:txBody>
      </p:sp>
      <p:sp>
        <p:nvSpPr>
          <p:cNvPr id="32" name="Espace réservé du texte 4">
            <a:extLst>
              <a:ext uri="{FF2B5EF4-FFF2-40B4-BE49-F238E27FC236}">
                <a16:creationId xmlns:a16="http://schemas.microsoft.com/office/drawing/2014/main" id="{6B7CF8AC-1288-430F-0F03-581D202E1769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4171950" y="1979613"/>
            <a:ext cx="647700" cy="273050"/>
          </a:xfrm>
          <a:prstGeom prst="ellipse">
            <a:avLst/>
          </a:prstGeom>
          <a:solidFill>
            <a:schemeClr val="bg1"/>
          </a:solidFill>
          <a:ln w="9525" cmpd="sng">
            <a:noFill/>
          </a:ln>
          <a:effectLst/>
          <a:extLst>
            <a:ext uri="{91240B29-F687-4F45-9708-019B960494DF}">
              <a14:hiddenLine xmlns:a14="http://schemas.microsoft.com/office/drawing/2010/main" w="9525" cmpd="sng">
                <a:solidFill>
                  <a:schemeClr val="tx1"/>
                </a:solidFill>
              </a14:hiddenLine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C46BD81D-FFB4-4A9C-88F0-8B068EB16A81}" type="datetime'-''''''''''7''''''''''''''''''''''3''''%'''''">
              <a:rPr lang="fr-FR" altLang="en-US" b="1" smtClean="0">
                <a:solidFill>
                  <a:srgbClr val="000000"/>
                </a:solidFill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-73%</a:t>
            </a:fld>
            <a:endParaRPr lang="fr-FR" b="1">
              <a:solidFill>
                <a:srgbClr val="000000"/>
              </a:solidFill>
              <a:latin typeface="+mn-lt"/>
            </a:endParaRPr>
          </a:p>
        </p:txBody>
      </p:sp>
      <p:sp>
        <p:nvSpPr>
          <p:cNvPr id="33" name="Rectangle : coins arrondis 32">
            <a:extLst>
              <a:ext uri="{FF2B5EF4-FFF2-40B4-BE49-F238E27FC236}">
                <a16:creationId xmlns:a16="http://schemas.microsoft.com/office/drawing/2014/main" id="{5259FC60-1D7A-7FA1-7D4D-6E4FA8B6975E}"/>
              </a:ext>
            </a:extLst>
          </p:cNvPr>
          <p:cNvSpPr/>
          <p:nvPr/>
        </p:nvSpPr>
        <p:spPr>
          <a:xfrm>
            <a:off x="6648358" y="1842040"/>
            <a:ext cx="5003891" cy="4229722"/>
          </a:xfrm>
          <a:prstGeom prst="roundRect">
            <a:avLst>
              <a:gd name="adj" fmla="val 369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4" name="Espace réservé du texte 6">
            <a:extLst>
              <a:ext uri="{FF2B5EF4-FFF2-40B4-BE49-F238E27FC236}">
                <a16:creationId xmlns:a16="http://schemas.microsoft.com/office/drawing/2014/main" id="{ED526089-6640-7881-BD2C-A2F1BCCB5099}"/>
              </a:ext>
            </a:extLst>
          </p:cNvPr>
          <p:cNvSpPr txBox="1">
            <a:spLocks/>
          </p:cNvSpPr>
          <p:nvPr/>
        </p:nvSpPr>
        <p:spPr>
          <a:xfrm>
            <a:off x="7439025" y="2745624"/>
            <a:ext cx="3803299" cy="977154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Clr>
                <a:schemeClr val="accent1"/>
              </a:buClr>
              <a:buNone/>
            </a:pPr>
            <a:r>
              <a:rPr lang="fr-FR" sz="1050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Une séance réalisée au cabinet présente une empreinte carbone plus élevée </a:t>
            </a:r>
            <a:r>
              <a:rPr lang="fr-FR" sz="105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notamment du aux déplacements des patients vers le cabinet , les immobilisations, les achats et l’énergie consommée.</a:t>
            </a:r>
          </a:p>
          <a:p>
            <a:pPr>
              <a:lnSpc>
                <a:spcPct val="100000"/>
              </a:lnSpc>
              <a:buClr>
                <a:schemeClr val="accent1"/>
              </a:buClr>
            </a:pPr>
            <a:r>
              <a:rPr lang="fr-FR" sz="105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Q1 : 2,3 kgCO</a:t>
            </a:r>
            <a:r>
              <a:rPr lang="fr-FR" sz="1050" baseline="-2500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2</a:t>
            </a:r>
            <a:r>
              <a:rPr lang="fr-FR" sz="105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e/séance</a:t>
            </a:r>
          </a:p>
          <a:p>
            <a:pPr>
              <a:lnSpc>
                <a:spcPct val="100000"/>
              </a:lnSpc>
              <a:buClr>
                <a:schemeClr val="accent1"/>
              </a:buClr>
            </a:pPr>
            <a:r>
              <a:rPr lang="fr-FR" sz="105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Q3 : 4,1 kgCO</a:t>
            </a:r>
            <a:r>
              <a:rPr lang="fr-FR" sz="1050" baseline="-2500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2</a:t>
            </a:r>
            <a:r>
              <a:rPr lang="fr-FR" sz="105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e/séance</a:t>
            </a:r>
          </a:p>
          <a:p>
            <a:pPr marL="0" indent="0">
              <a:lnSpc>
                <a:spcPct val="100000"/>
              </a:lnSpc>
              <a:buClr>
                <a:schemeClr val="accent1"/>
              </a:buClr>
              <a:buNone/>
            </a:pPr>
            <a:r>
              <a:rPr lang="fr-FR" sz="1050" i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Clé de lecture : La moitié des séances kiné réalisées au cabinet affichent une empreinte carbone comprise entre 2,3 et 4,1 kgCO</a:t>
            </a:r>
            <a:r>
              <a:rPr lang="fr-FR" sz="1050" i="1" baseline="-2500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2</a:t>
            </a:r>
            <a:r>
              <a:rPr lang="fr-FR" sz="1050" i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e/séance</a:t>
            </a:r>
          </a:p>
          <a:p>
            <a:pPr marL="0" indent="0">
              <a:lnSpc>
                <a:spcPct val="100000"/>
              </a:lnSpc>
              <a:buClr>
                <a:schemeClr val="accent1"/>
              </a:buClr>
              <a:buNone/>
            </a:pPr>
            <a:endParaRPr lang="fr-FR" sz="1200">
              <a:solidFill>
                <a:schemeClr val="tx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35" name="Espace réservé du texte 6">
            <a:extLst>
              <a:ext uri="{FF2B5EF4-FFF2-40B4-BE49-F238E27FC236}">
                <a16:creationId xmlns:a16="http://schemas.microsoft.com/office/drawing/2014/main" id="{D4E21A2D-6DFC-F2E3-2119-FBBE7671952B}"/>
              </a:ext>
            </a:extLst>
          </p:cNvPr>
          <p:cNvSpPr txBox="1">
            <a:spLocks/>
          </p:cNvSpPr>
          <p:nvPr/>
        </p:nvSpPr>
        <p:spPr>
          <a:xfrm>
            <a:off x="6789738" y="2116138"/>
            <a:ext cx="4791290" cy="348187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fr-FR" sz="1200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Une séance de kinésithérapie varie fortement selon son profil: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fr-FR" sz="1200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  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4AABD141-E3B3-CB9D-06D0-CD8947DC56BA}"/>
              </a:ext>
            </a:extLst>
          </p:cNvPr>
          <p:cNvSpPr txBox="1"/>
          <p:nvPr/>
        </p:nvSpPr>
        <p:spPr>
          <a:xfrm>
            <a:off x="570046" y="1345156"/>
            <a:ext cx="5891163" cy="3937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Century Gothic"/>
              </a:rPr>
              <a:t>Empreinte carbone d’une séance de kinésithérapie selon le </a:t>
            </a:r>
            <a:r>
              <a:rPr lang="fr-FR" sz="1400" b="1">
                <a:solidFill>
                  <a:srgbClr val="000000"/>
                </a:solidFill>
                <a:latin typeface="Inter" panose="02000503000000020004" pitchFamily="2" charset="0"/>
                <a:ea typeface="Inter" panose="02000503000000020004" pitchFamily="2" charset="0"/>
                <a:cs typeface="Century Gothic"/>
              </a:rPr>
              <a:t>profil </a:t>
            </a:r>
            <a:r>
              <a:rPr lang="fr-FR" sz="1400">
                <a:solidFill>
                  <a:srgbClr val="000000"/>
                </a:solidFill>
                <a:latin typeface="Inter" panose="02000503000000020004" pitchFamily="2" charset="0"/>
                <a:ea typeface="Inter" panose="02000503000000020004" pitchFamily="2" charset="0"/>
                <a:cs typeface="Century Gothic"/>
              </a:rPr>
              <a:t>(kgCO</a:t>
            </a:r>
            <a:r>
              <a:rPr lang="fr-FR" sz="1400" baseline="-25000">
                <a:solidFill>
                  <a:srgbClr val="000000"/>
                </a:solidFill>
                <a:latin typeface="Inter" panose="02000503000000020004" pitchFamily="2" charset="0"/>
                <a:ea typeface="Inter" panose="02000503000000020004" pitchFamily="2" charset="0"/>
                <a:cs typeface="Century Gothic"/>
              </a:rPr>
              <a:t>2</a:t>
            </a:r>
            <a:r>
              <a:rPr lang="fr-FR" sz="1400">
                <a:solidFill>
                  <a:srgbClr val="000000"/>
                </a:solidFill>
                <a:latin typeface="Inter" panose="02000503000000020004" pitchFamily="2" charset="0"/>
                <a:ea typeface="Inter" panose="02000503000000020004" pitchFamily="2" charset="0"/>
                <a:cs typeface="Century Gothic"/>
              </a:rPr>
              <a:t>e/séance)</a:t>
            </a:r>
            <a:endParaRPr kumimoji="0" lang="fr-FR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Century Gothic"/>
            </a:endParaRPr>
          </a:p>
        </p:txBody>
      </p:sp>
      <p:cxnSp>
        <p:nvCxnSpPr>
          <p:cNvPr id="37" name="Straight Connector 58">
            <a:extLst>
              <a:ext uri="{FF2B5EF4-FFF2-40B4-BE49-F238E27FC236}">
                <a16:creationId xmlns:a16="http://schemas.microsoft.com/office/drawing/2014/main" id="{F576F64E-CDE6-DB90-92D4-50C8A0E8EE1F}"/>
              </a:ext>
            </a:extLst>
          </p:cNvPr>
          <p:cNvCxnSpPr>
            <a:cxnSpLocks/>
          </p:cNvCxnSpPr>
          <p:nvPr/>
        </p:nvCxnSpPr>
        <p:spPr>
          <a:xfrm>
            <a:off x="570047" y="1842040"/>
            <a:ext cx="5891164" cy="0"/>
          </a:xfrm>
          <a:prstGeom prst="line">
            <a:avLst/>
          </a:prstGeom>
          <a:ln w="6350" cap="sq">
            <a:solidFill>
              <a:schemeClr val="tx1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Pic">
            <a:extLst>
              <a:ext uri="{FF2B5EF4-FFF2-40B4-BE49-F238E27FC236}">
                <a16:creationId xmlns:a16="http://schemas.microsoft.com/office/drawing/2014/main" id="{EDC23900-6FD8-CF54-1590-3B0619B03AAF}"/>
              </a:ext>
            </a:extLst>
          </p:cNvPr>
          <p:cNvPicPr>
            <a:picLocks/>
          </p:cNvPicPr>
          <p:nvPr>
            <p:custDataLst>
              <p:tags r:id="rId12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>
            <a:off x="6835775" y="2820988"/>
            <a:ext cx="566738" cy="566738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39" name="Picture 4" descr="house icon">
            <a:extLst>
              <a:ext uri="{FF2B5EF4-FFF2-40B4-BE49-F238E27FC236}">
                <a16:creationId xmlns:a16="http://schemas.microsoft.com/office/drawing/2014/main" id="{E44C8D21-3FF6-E109-9DC8-FE2218AEF7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775" y="4874416"/>
            <a:ext cx="566738" cy="566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Espace réservé du texte 6">
            <a:extLst>
              <a:ext uri="{FF2B5EF4-FFF2-40B4-BE49-F238E27FC236}">
                <a16:creationId xmlns:a16="http://schemas.microsoft.com/office/drawing/2014/main" id="{07688BC2-6FFE-2736-39A5-585F99676160}"/>
              </a:ext>
            </a:extLst>
          </p:cNvPr>
          <p:cNvSpPr txBox="1">
            <a:spLocks/>
          </p:cNvSpPr>
          <p:nvPr/>
        </p:nvSpPr>
        <p:spPr>
          <a:xfrm>
            <a:off x="7439025" y="4784363"/>
            <a:ext cx="3803299" cy="977154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Clr>
                <a:schemeClr val="accent1"/>
              </a:buClr>
              <a:buNone/>
            </a:pPr>
            <a:r>
              <a:rPr lang="fr-FR" sz="1050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Une séance sur place, à domicile ou dans un EHPAD, sera en revanche entre 63% et 73% moins carbonée </a:t>
            </a:r>
            <a:r>
              <a:rPr lang="fr-FR" sz="105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en moyenne. Les postes prépondérants sont  les déplacements professionnels et les immobilisations. </a:t>
            </a:r>
            <a:endParaRPr lang="fr-FR" sz="1200">
              <a:solidFill>
                <a:schemeClr val="tx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43" name="Espace réservé du pied de page 1">
            <a:extLst>
              <a:ext uri="{FF2B5EF4-FFF2-40B4-BE49-F238E27FC236}">
                <a16:creationId xmlns:a16="http://schemas.microsoft.com/office/drawing/2014/main" id="{B4A12FF7-3DA5-6360-8A9D-2BE01257B2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16827" y="6179795"/>
            <a:ext cx="8252647" cy="400050"/>
          </a:xfrm>
        </p:spPr>
        <p:txBody>
          <a:bodyPr/>
          <a:lstStyle/>
          <a:p>
            <a:r>
              <a:rPr lang="fr-FR"/>
              <a:t>Q1 : Premier quartile</a:t>
            </a:r>
          </a:p>
          <a:p>
            <a:r>
              <a:rPr lang="fr-FR"/>
              <a:t>Q3 : Troisième quartile</a:t>
            </a:r>
          </a:p>
        </p:txBody>
      </p:sp>
    </p:spTree>
    <p:extLst>
      <p:ext uri="{BB962C8B-B14F-4D97-AF65-F5344CB8AC3E}">
        <p14:creationId xmlns:p14="http://schemas.microsoft.com/office/powerpoint/2010/main" val="34410630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3D4933-0204-3ED0-45AE-D178094D6D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F18B0722-12CD-2BBA-6497-35D097FEA9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23730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5" imgW="7772400" imgH="10058400" progId="TCLayout.ActiveDocument.1">
                  <p:embed/>
                </p:oleObj>
              </mc:Choice>
              <mc:Fallback>
                <p:oleObj name="Diapositive think-cell" r:id="rId25" imgW="7772400" imgH="10058400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B0722-12CD-2BBA-6497-35D097FEA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C948AD49-C17C-FC47-1F3B-14CF98C1CE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B5A6716-DBF2-AF4C-9665-1BA53E8D7A19}" type="slidenum">
              <a:rPr lang="fr-FR" smtClean="0"/>
              <a:pPr/>
              <a:t>11</a:t>
            </a:fld>
            <a:endParaRPr lang="fr-FR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5EEB5D46-2A2E-8D9F-3AEF-D64D6D6C3F7E}"/>
              </a:ext>
            </a:extLst>
          </p:cNvPr>
          <p:cNvSpPr txBox="1">
            <a:spLocks/>
          </p:cNvSpPr>
          <p:nvPr/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5A6716-DBF2-AF4C-9665-1BA53E8D7A19}" type="slidenum">
              <a:rPr lang="fr-FR" smtClean="0"/>
              <a:pPr/>
              <a:t>11</a:t>
            </a:fld>
            <a:endParaRPr lang="fr-FR"/>
          </a:p>
        </p:txBody>
      </p:sp>
      <p:sp>
        <p:nvSpPr>
          <p:cNvPr id="14" name="Titre 2">
            <a:extLst>
              <a:ext uri="{FF2B5EF4-FFF2-40B4-BE49-F238E27FC236}">
                <a16:creationId xmlns:a16="http://schemas.microsoft.com/office/drawing/2014/main" id="{13BEA8A0-6649-C56E-3C5A-9A93AB0A6C25}"/>
              </a:ext>
            </a:extLst>
          </p:cNvPr>
          <p:cNvSpPr txBox="1">
            <a:spLocks/>
          </p:cNvSpPr>
          <p:nvPr/>
        </p:nvSpPr>
        <p:spPr>
          <a:xfrm>
            <a:off x="536574" y="314960"/>
            <a:ext cx="11115675" cy="8964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i="0" kern="1200" baseline="0">
                <a:solidFill>
                  <a:schemeClr val="accent1"/>
                </a:solidFill>
                <a:latin typeface="CocogooseProNarrow Darkmode" panose="00000400000000000000" pitchFamily="2" charset="0"/>
                <a:ea typeface="+mj-ea"/>
                <a:cs typeface="+mj-cs"/>
              </a:defRPr>
            </a:lvl1pPr>
          </a:lstStyle>
          <a:p>
            <a:r>
              <a:rPr lang="fr-FR"/>
              <a:t>Les déplacements, les immobilisations et l’énergie consommée sont les postes qui expliquent la différence </a:t>
            </a:r>
            <a:endParaRPr lang="fr-FR" noProof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4813653-60AB-23D9-B17C-C54855E5C421}"/>
              </a:ext>
            </a:extLst>
          </p:cNvPr>
          <p:cNvSpPr/>
          <p:nvPr/>
        </p:nvSpPr>
        <p:spPr>
          <a:xfrm>
            <a:off x="733425" y="2141538"/>
            <a:ext cx="1606363" cy="2957513"/>
          </a:xfrm>
          <a:prstGeom prst="rect">
            <a:avLst/>
          </a:prstGeom>
          <a:solidFill>
            <a:srgbClr val="ADCDF9">
              <a:alpha val="37966"/>
            </a:srgbClr>
          </a:solidFill>
          <a:ln>
            <a:solidFill>
              <a:srgbClr val="0E5EC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29" name="Chart 3">
            <a:extLst>
              <a:ext uri="{FF2B5EF4-FFF2-40B4-BE49-F238E27FC236}">
                <a16:creationId xmlns:a16="http://schemas.microsoft.com/office/drawing/2014/main" id="{4A52FAE8-360E-70D4-8556-5006DB1FB07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9047481"/>
              </p:ext>
            </p:extLst>
          </p:nvPr>
        </p:nvGraphicFramePr>
        <p:xfrm>
          <a:off x="487363" y="2141538"/>
          <a:ext cx="8020050" cy="2935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2CE9D278-627D-9131-4835-3F18488F4885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2744788" y="4829175"/>
            <a:ext cx="15398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C72FCEB1-7FC8-43D8-949D-0DEEEC626265}" type="datetime'V''''i''''''s''it''''e''''s'''' à d''o''m''i''''ci''l''''e'">
              <a:rPr lang="fr-FR" altLang="en-US" b="1" smtClean="0">
                <a:solidFill>
                  <a:srgbClr val="000000"/>
                </a:solidFill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Visites à domicile</a:t>
            </a:fld>
            <a:endParaRPr lang="fr-FR" b="1">
              <a:solidFill>
                <a:srgbClr val="000000"/>
              </a:solidFill>
              <a:latin typeface="+mn-lt"/>
            </a:endParaRPr>
          </a:p>
        </p:txBody>
      </p:sp>
      <p:sp>
        <p:nvSpPr>
          <p:cNvPr id="7" name="Espace réservé du texte 4">
            <a:extLst>
              <a:ext uri="{FF2B5EF4-FFF2-40B4-BE49-F238E27FC236}">
                <a16:creationId xmlns:a16="http://schemas.microsoft.com/office/drawing/2014/main" id="{1C95CEB9-13D3-E7FA-EC00-6AA2A40EB72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5170488" y="4829175"/>
            <a:ext cx="6175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6BC549D6-ACFD-464B-BDAA-6FDC196ED647}" type="datetime'''E''''''''''''''''H''''''''''''''''''''''P''''AD'''''">
              <a:rPr lang="fr-FR" altLang="en-US" b="1" smtClean="0">
                <a:solidFill>
                  <a:srgbClr val="000000"/>
                </a:solidFill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EHPAD</a:t>
            </a:fld>
            <a:endParaRPr lang="fr-FR" b="1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1" name="Espace réservé du texte 4">
            <a:extLst>
              <a:ext uri="{FF2B5EF4-FFF2-40B4-BE49-F238E27FC236}">
                <a16:creationId xmlns:a16="http://schemas.microsoft.com/office/drawing/2014/main" id="{EB1C05AA-2A53-6CE6-5DCA-96CDA6F3C06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1381125" y="2230438"/>
            <a:ext cx="339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6ECA35C5-AEB2-4318-B3E7-881D35CB89AD}" type="datetime'''''''''''''3'''''''',''''''''4'''''''''''''''''">
              <a:rPr lang="fr-FR" altLang="en-US" b="1" smtClean="0">
                <a:solidFill>
                  <a:srgbClr val="000000"/>
                </a:solidFill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3,4</a:t>
            </a:fld>
            <a:endParaRPr lang="fr-FR" b="1">
              <a:solidFill>
                <a:srgbClr val="000000"/>
              </a:solidFill>
              <a:latin typeface="+mn-lt"/>
            </a:endParaRPr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61509274-5B10-8846-7DF3-9C8B5A2AEDB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03325" y="4829175"/>
            <a:ext cx="695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57FB0C5D-B6FE-4B54-85CF-FEACDFF7AE6D}" type="datetime'''''C''''''a''''''b''''''''''''''i''''''''''''n''''et'''''''">
              <a:rPr lang="fr-FR" altLang="en-US" b="1" smtClean="0">
                <a:solidFill>
                  <a:srgbClr val="000000"/>
                </a:solidFill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Cabinet</a:t>
            </a:fld>
            <a:endParaRPr lang="fr-FR" b="1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09" name="Espace réservé du texte 4">
            <a:extLst>
              <a:ext uri="{FF2B5EF4-FFF2-40B4-BE49-F238E27FC236}">
                <a16:creationId xmlns:a16="http://schemas.microsoft.com/office/drawing/2014/main" id="{7390113D-DC98-73FF-2959-DFC98C2F7082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3365500" y="3684588"/>
            <a:ext cx="298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8FFD7B48-D469-4CBE-AB0C-5AED357AFBE1}" type="datetime'''''''''''''''''''''''''''''1,''''''''''''''''3'''''">
              <a:rPr lang="fr-FR" altLang="en-US" b="1" smtClean="0">
                <a:solidFill>
                  <a:srgbClr val="000000"/>
                </a:solidFill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1,3</a:t>
            </a:fld>
            <a:endParaRPr lang="fr-FR" b="1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15" name="Espace réservé du texte 4">
            <a:extLst>
              <a:ext uri="{FF2B5EF4-FFF2-40B4-BE49-F238E27FC236}">
                <a16:creationId xmlns:a16="http://schemas.microsoft.com/office/drawing/2014/main" id="{ABE82AF2-A747-B2FA-B9EB-E9F30E8A4EBF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5310188" y="3927475"/>
            <a:ext cx="336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22FAD0A6-4131-440B-A6C8-61E3D9E281DC}" type="datetime'''''''''''''''''''''''''''''''''''''''0'',''''9'''''''''''''''">
              <a:rPr lang="fr-FR" altLang="en-US" b="1" smtClean="0">
                <a:solidFill>
                  <a:srgbClr val="000000"/>
                </a:solidFill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0,9</a:t>
            </a:fld>
            <a:endParaRPr lang="fr-FR" b="1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04" name="Espace réservé du texte 4">
            <a:extLst>
              <a:ext uri="{FF2B5EF4-FFF2-40B4-BE49-F238E27FC236}">
                <a16:creationId xmlns:a16="http://schemas.microsoft.com/office/drawing/2014/main" id="{E9E618AF-1B79-5F79-A38C-19E6E34349D1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7151689" y="4829175"/>
            <a:ext cx="5826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B96EC08F-33C1-4ADC-B4B9-F2F9DBD1ED31}" type="datetime'''''''L''''''''''''i''''b''''''''''''''e''''''l''''''''lé'''">
              <a:rPr lang="fr-FR" altLang="en-US" b="1" smtClean="0">
                <a:solidFill>
                  <a:srgbClr val="000000"/>
                </a:solidFill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Libellé</a:t>
            </a:fld>
            <a:endParaRPr lang="fr-FR" b="1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FD043520-EE95-1842-5FAF-C785B2F9732E}"/>
              </a:ext>
            </a:extLst>
          </p:cNvPr>
          <p:cNvSpPr txBox="1"/>
          <p:nvPr/>
        </p:nvSpPr>
        <p:spPr>
          <a:xfrm>
            <a:off x="570046" y="1345156"/>
            <a:ext cx="5891163" cy="3937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Century Gothic"/>
              </a:rPr>
              <a:t>Empreinte carbone d’une séance de kinésithérapie selon le </a:t>
            </a:r>
            <a:r>
              <a:rPr lang="fr-FR" sz="1400" b="1">
                <a:solidFill>
                  <a:srgbClr val="000000"/>
                </a:solidFill>
                <a:latin typeface="Inter" panose="02000503000000020004" pitchFamily="2" charset="0"/>
                <a:ea typeface="Inter" panose="02000503000000020004" pitchFamily="2" charset="0"/>
                <a:cs typeface="Century Gothic"/>
              </a:rPr>
              <a:t>profil </a:t>
            </a:r>
            <a:r>
              <a:rPr lang="fr-FR" sz="1400">
                <a:solidFill>
                  <a:srgbClr val="000000"/>
                </a:solidFill>
                <a:latin typeface="Inter" panose="02000503000000020004" pitchFamily="2" charset="0"/>
                <a:ea typeface="Inter" panose="02000503000000020004" pitchFamily="2" charset="0"/>
                <a:cs typeface="Century Gothic"/>
              </a:rPr>
              <a:t>(kgCO</a:t>
            </a:r>
            <a:r>
              <a:rPr lang="fr-FR" sz="1400" baseline="-25000">
                <a:solidFill>
                  <a:srgbClr val="000000"/>
                </a:solidFill>
                <a:latin typeface="Inter" panose="02000503000000020004" pitchFamily="2" charset="0"/>
                <a:ea typeface="Inter" panose="02000503000000020004" pitchFamily="2" charset="0"/>
                <a:cs typeface="Century Gothic"/>
              </a:rPr>
              <a:t>2</a:t>
            </a:r>
            <a:r>
              <a:rPr lang="fr-FR" sz="1400">
                <a:solidFill>
                  <a:srgbClr val="000000"/>
                </a:solidFill>
                <a:latin typeface="Inter" panose="02000503000000020004" pitchFamily="2" charset="0"/>
                <a:ea typeface="Inter" panose="02000503000000020004" pitchFamily="2" charset="0"/>
                <a:cs typeface="Century Gothic"/>
              </a:rPr>
              <a:t>e/séance)</a:t>
            </a:r>
            <a:endParaRPr kumimoji="0" lang="fr-FR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Century Gothic"/>
            </a:endParaRPr>
          </a:p>
        </p:txBody>
      </p:sp>
      <p:cxnSp>
        <p:nvCxnSpPr>
          <p:cNvPr id="13" name="Straight Connector 58">
            <a:extLst>
              <a:ext uri="{FF2B5EF4-FFF2-40B4-BE49-F238E27FC236}">
                <a16:creationId xmlns:a16="http://schemas.microsoft.com/office/drawing/2014/main" id="{4347F032-8D3A-870D-8CE9-C6B15D8D47A8}"/>
              </a:ext>
            </a:extLst>
          </p:cNvPr>
          <p:cNvCxnSpPr>
            <a:cxnSpLocks/>
          </p:cNvCxnSpPr>
          <p:nvPr/>
        </p:nvCxnSpPr>
        <p:spPr>
          <a:xfrm>
            <a:off x="570047" y="1842040"/>
            <a:ext cx="5891164" cy="0"/>
          </a:xfrm>
          <a:prstGeom prst="line">
            <a:avLst/>
          </a:prstGeom>
          <a:ln w="6350" cap="sq">
            <a:solidFill>
              <a:schemeClr val="tx1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6807EBDF-4083-499B-DDBB-623E8C619464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608013" y="5981700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3F63D2A-8673-1E68-8188-DBE69707D790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608013" y="5219700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A981945-C504-A808-BCFF-23096390561B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3581400" y="5473700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1879A25-FC9F-3E0F-967E-060685690559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08013" y="5473700"/>
            <a:ext cx="250825" cy="187325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B30D34A-E72D-8A87-BC49-FE4AA9731EE2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3581400" y="5219700"/>
            <a:ext cx="250825" cy="187325"/>
          </a:xfrm>
          <a:prstGeom prst="rect">
            <a:avLst/>
          </a:prstGeom>
          <a:solidFill>
            <a:srgbClr val="FFE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52CF648-063C-C6F7-FDA4-FFDE0CD5449A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608013" y="5727700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5A4763F-5111-35CC-4EFC-6F4135D351E6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581400" y="5727700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6" name="Espace réservé du texte 4">
            <a:extLst>
              <a:ext uri="{FF2B5EF4-FFF2-40B4-BE49-F238E27FC236}">
                <a16:creationId xmlns:a16="http://schemas.microsoft.com/office/drawing/2014/main" id="{557F9060-A73E-FE25-5216-0521A2FC02B3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909638" y="5992813"/>
            <a:ext cx="2090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F4483ACF-744C-417B-AD08-0455D464EDCF}" type="datetime'D''épla''''cem''''e''''''''nts ''''''''''pa''t''ientèle'''''''">
              <a:rPr lang="fr-FR" altLang="en-US" smtClean="0">
                <a:solidFill>
                  <a:srgbClr val="000000"/>
                </a:solidFill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Déplacements patientèle</a:t>
            </a:fld>
            <a:endParaRPr lang="fr-FR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4" name="Espace réservé du texte 4">
            <a:extLst>
              <a:ext uri="{FF2B5EF4-FFF2-40B4-BE49-F238E27FC236}">
                <a16:creationId xmlns:a16="http://schemas.microsoft.com/office/drawing/2014/main" id="{539C61A0-950D-6771-5E1D-BBE4253896F0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3883025" y="5230813"/>
            <a:ext cx="15319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9CF083D8-457B-4499-907D-66A1CDD892BD}" type="datetime'''Dép''''la''''''c''''e''m''e''''''''nts ''''''''pr''o'''''''">
              <a:rPr lang="fr-FR" altLang="en-US" smtClean="0">
                <a:solidFill>
                  <a:srgbClr val="000000"/>
                </a:solidFill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Déplacements pro</a:t>
            </a:fld>
            <a:endParaRPr lang="fr-FR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5" name="Espace réservé du texte 4">
            <a:extLst>
              <a:ext uri="{FF2B5EF4-FFF2-40B4-BE49-F238E27FC236}">
                <a16:creationId xmlns:a16="http://schemas.microsoft.com/office/drawing/2014/main" id="{FE949F39-1D53-C188-AFFB-EF8BDB737566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909638" y="5738813"/>
            <a:ext cx="14382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D1878A1B-C930-4454-95CE-8C69B3D3BDCF}" type="datetime'Ene''r''''g''i''''''''''e'''' ''''''''''des ''''''si''t''es'''">
              <a:rPr lang="fr-FR" altLang="en-US" smtClean="0">
                <a:solidFill>
                  <a:srgbClr val="000000"/>
                </a:solidFill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Energie des sites</a:t>
            </a:fld>
            <a:endParaRPr lang="fr-FR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1" name="Espace réservé du texte 4">
            <a:extLst>
              <a:ext uri="{FF2B5EF4-FFF2-40B4-BE49-F238E27FC236}">
                <a16:creationId xmlns:a16="http://schemas.microsoft.com/office/drawing/2014/main" id="{BD805374-1072-9989-2A08-989895B53E3B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3883025" y="5484813"/>
            <a:ext cx="1308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7AAD0A19-DAAB-4E7C-B9F1-5E6B3A2FE458}" type="datetime'I''''mmo''''''b''''''''''i''l''i''''''s''''a''t''ions'''''''">
              <a:rPr lang="fr-FR" altLang="en-US" smtClean="0">
                <a:solidFill>
                  <a:srgbClr val="000000"/>
                </a:solidFill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Immobilisations</a:t>
            </a:fld>
            <a:endParaRPr lang="fr-FR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1A2A6DCE-04B4-9D15-B6EE-B810A15D383E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909638" y="5484813"/>
            <a:ext cx="696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A068F37B-6B1E-4E99-B766-FFBC188015CE}" type="datetime'''''Dé''c''''h''''''''''''''e''''''''t''''''''s'''''''''''''">
              <a:rPr lang="fr-FR" altLang="en-US" smtClean="0">
                <a:solidFill>
                  <a:srgbClr val="000000"/>
                </a:solidFill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Déchets</a:t>
            </a:fld>
            <a:endParaRPr lang="fr-FR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7" name="Espace réservé du texte 4">
            <a:extLst>
              <a:ext uri="{FF2B5EF4-FFF2-40B4-BE49-F238E27FC236}">
                <a16:creationId xmlns:a16="http://schemas.microsoft.com/office/drawing/2014/main" id="{0DC37AB4-0276-E471-4D95-070AC130E205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3883025" y="5738813"/>
            <a:ext cx="5826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F17D37C8-0B96-4060-B4DD-4A5F9F9A4447}" type="datetime'''''A''''''''c''h''''''''''''''''''''''''''''''''ats'''">
              <a:rPr lang="fr-FR" altLang="en-US" smtClean="0">
                <a:solidFill>
                  <a:srgbClr val="000000"/>
                </a:solidFill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Achats</a:t>
            </a:fld>
            <a:endParaRPr lang="fr-FR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0B723475-D6D3-7279-EA33-FC2C281309D5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909638" y="5230813"/>
            <a:ext cx="25701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ECEA9FBC-EC4E-48EF-84DF-38264F0A5600}" type="datetime'R''ech''ar''''ges ''de'' gaz f''r''''igorigè''''''ne''s'''''''">
              <a:rPr lang="fr-FR" altLang="en-US" smtClean="0">
                <a:solidFill>
                  <a:srgbClr val="000000"/>
                </a:solidFill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Recharges de gaz frigorigènes</a:t>
            </a:fld>
            <a:endParaRPr lang="fr-FR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8" name="Rectangle : coins arrondis 47">
            <a:extLst>
              <a:ext uri="{FF2B5EF4-FFF2-40B4-BE49-F238E27FC236}">
                <a16:creationId xmlns:a16="http://schemas.microsoft.com/office/drawing/2014/main" id="{24886262-EEEE-90C1-A4D7-24C3D940E7AD}"/>
              </a:ext>
            </a:extLst>
          </p:cNvPr>
          <p:cNvSpPr/>
          <p:nvPr/>
        </p:nvSpPr>
        <p:spPr>
          <a:xfrm>
            <a:off x="6648358" y="1842040"/>
            <a:ext cx="5003891" cy="4229722"/>
          </a:xfrm>
          <a:prstGeom prst="roundRect">
            <a:avLst>
              <a:gd name="adj" fmla="val 369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Espace réservé du texte 6">
            <a:extLst>
              <a:ext uri="{FF2B5EF4-FFF2-40B4-BE49-F238E27FC236}">
                <a16:creationId xmlns:a16="http://schemas.microsoft.com/office/drawing/2014/main" id="{55C07CCA-164E-DF9C-B85A-28EE592C0E5A}"/>
              </a:ext>
            </a:extLst>
          </p:cNvPr>
          <p:cNvSpPr txBox="1">
            <a:spLocks/>
          </p:cNvSpPr>
          <p:nvPr/>
        </p:nvSpPr>
        <p:spPr>
          <a:xfrm>
            <a:off x="6812140" y="2230437"/>
            <a:ext cx="4554359" cy="3500437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960"/>
              </a:lnSpc>
              <a:buClr>
                <a:schemeClr val="tx2"/>
              </a:buClr>
              <a:buFont typeface="Wingdings" pitchFamily="2" charset="2"/>
              <a:buChar char="Ø"/>
            </a:pPr>
            <a:r>
              <a:rPr lang="fr-FR" sz="1050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Achats : </a:t>
            </a:r>
            <a:r>
              <a:rPr lang="fr-FR" sz="105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Achats de biens (fournitures, petits équipements, papier, serviettes, etc.) et de services (services bancaires et de comptabilité, assurances, restauration, etc.)</a:t>
            </a:r>
            <a:endParaRPr lang="fr-FR" sz="1050" b="1">
              <a:solidFill>
                <a:schemeClr val="tx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  <a:p>
            <a:pPr>
              <a:lnSpc>
                <a:spcPts val="960"/>
              </a:lnSpc>
              <a:buClr>
                <a:schemeClr val="tx2"/>
              </a:buClr>
              <a:buFont typeface="Wingdings" pitchFamily="2" charset="2"/>
              <a:buChar char="Ø"/>
            </a:pPr>
            <a:r>
              <a:rPr lang="fr-FR" sz="1050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Déchets : </a:t>
            </a:r>
            <a:r>
              <a:rPr lang="fr-FR" sz="105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Déchets ménagers et ceux spécifiques à l’activité de kiné</a:t>
            </a:r>
          </a:p>
          <a:p>
            <a:pPr>
              <a:lnSpc>
                <a:spcPts val="960"/>
              </a:lnSpc>
              <a:buClr>
                <a:schemeClr val="tx2"/>
              </a:buClr>
              <a:buFont typeface="Wingdings" pitchFamily="2" charset="2"/>
              <a:buChar char="Ø"/>
            </a:pPr>
            <a:r>
              <a:rPr lang="fr-FR" sz="1050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Déplacements patientèle : </a:t>
            </a:r>
            <a:r>
              <a:rPr lang="fr-FR" sz="105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Déplacements de la patientèle vers et depuis le cabinet pour se rendre à leurs consultations</a:t>
            </a:r>
            <a:endParaRPr lang="fr-FR" sz="1050" b="1">
              <a:solidFill>
                <a:schemeClr val="tx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  <a:p>
            <a:pPr>
              <a:lnSpc>
                <a:spcPts val="960"/>
              </a:lnSpc>
              <a:buClr>
                <a:schemeClr val="tx2"/>
              </a:buClr>
              <a:buFont typeface="Wingdings" pitchFamily="2" charset="2"/>
              <a:buChar char="Ø"/>
            </a:pPr>
            <a:r>
              <a:rPr lang="fr-FR" sz="1050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Déplacements professionnels : </a:t>
            </a:r>
            <a:r>
              <a:rPr lang="fr-FR" sz="105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Déplacements des MK et de l’ensemble des personnes du cabinet (déplacements domicile-travail, séances à domicile/EHPAD) y compris les déplacements ponctuels (séminaires, MSP, CPTS, syndicaux, etc.)</a:t>
            </a:r>
            <a:endParaRPr lang="fr-FR" sz="1050" b="1">
              <a:solidFill>
                <a:schemeClr val="tx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  <a:p>
            <a:pPr>
              <a:lnSpc>
                <a:spcPts val="960"/>
              </a:lnSpc>
              <a:buClr>
                <a:schemeClr val="tx2"/>
              </a:buClr>
              <a:buFont typeface="Wingdings" pitchFamily="2" charset="2"/>
              <a:buChar char="Ø"/>
            </a:pPr>
            <a:r>
              <a:rPr lang="fr-FR" sz="1050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Energie des sites : </a:t>
            </a:r>
            <a:r>
              <a:rPr lang="fr-FR" sz="105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Électricité, chauffage et climatisation du cabinet</a:t>
            </a:r>
            <a:endParaRPr lang="fr-FR" sz="1050" b="1">
              <a:solidFill>
                <a:schemeClr val="tx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  <a:p>
            <a:pPr>
              <a:lnSpc>
                <a:spcPts val="960"/>
              </a:lnSpc>
              <a:buClr>
                <a:schemeClr val="tx2"/>
              </a:buClr>
              <a:buFont typeface="Wingdings" pitchFamily="2" charset="2"/>
              <a:buChar char="Ø"/>
            </a:pPr>
            <a:r>
              <a:rPr lang="fr-FR" sz="1050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Immobilisations : </a:t>
            </a:r>
            <a:r>
              <a:rPr lang="fr-FR" sz="105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Biens immobilisés du cabinet (bâtiments, véhicules, équipements, parc informatique, etc.)</a:t>
            </a:r>
            <a:endParaRPr lang="fr-FR" sz="1050" b="1">
              <a:solidFill>
                <a:schemeClr val="tx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  <a:p>
            <a:pPr>
              <a:lnSpc>
                <a:spcPts val="960"/>
              </a:lnSpc>
              <a:buClr>
                <a:schemeClr val="tx2"/>
              </a:buClr>
              <a:buFont typeface="Wingdings" pitchFamily="2" charset="2"/>
              <a:buChar char="Ø"/>
            </a:pPr>
            <a:r>
              <a:rPr lang="fr-FR" sz="1050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Recharges de gaz frigorigènes : </a:t>
            </a:r>
            <a:r>
              <a:rPr lang="fr-FR" sz="105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Fuites de gaz frigorigène pour la climatisation du cabinet</a:t>
            </a:r>
            <a:endParaRPr lang="fr-FR" sz="1050" b="1">
              <a:solidFill>
                <a:schemeClr val="tx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54206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164FDF-BE05-D880-7951-47227DCB6C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06AF9736-6637-1009-8C9A-99C7402131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589241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5" imgW="7772400" imgH="10058400" progId="TCLayout.ActiveDocument.1">
                  <p:embed/>
                </p:oleObj>
              </mc:Choice>
              <mc:Fallback>
                <p:oleObj name="Diapositive think-cell" r:id="rId25" imgW="7772400" imgH="10058400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AF9736-6637-1009-8C9A-99C7402131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Forme libre 146">
            <a:extLst>
              <a:ext uri="{FF2B5EF4-FFF2-40B4-BE49-F238E27FC236}">
                <a16:creationId xmlns:a16="http://schemas.microsoft.com/office/drawing/2014/main" id="{64B1FA86-6257-E6FE-BE67-A38797DF38DC}"/>
              </a:ext>
            </a:extLst>
          </p:cNvPr>
          <p:cNvSpPr/>
          <p:nvPr/>
        </p:nvSpPr>
        <p:spPr>
          <a:xfrm>
            <a:off x="2097754" y="2734508"/>
            <a:ext cx="2835304" cy="1746622"/>
          </a:xfrm>
          <a:custGeom>
            <a:avLst/>
            <a:gdLst>
              <a:gd name="connsiteX0" fmla="*/ 5715 w 2834640"/>
              <a:gd name="connsiteY0" fmla="*/ 1205865 h 1765935"/>
              <a:gd name="connsiteX1" fmla="*/ 868680 w 2834640"/>
              <a:gd name="connsiteY1" fmla="*/ 1531620 h 1765935"/>
              <a:gd name="connsiteX2" fmla="*/ 1971675 w 2834640"/>
              <a:gd name="connsiteY2" fmla="*/ 1525905 h 1765935"/>
              <a:gd name="connsiteX3" fmla="*/ 2834640 w 2834640"/>
              <a:gd name="connsiteY3" fmla="*/ 1765935 h 1765935"/>
              <a:gd name="connsiteX4" fmla="*/ 2834640 w 2834640"/>
              <a:gd name="connsiteY4" fmla="*/ 1428750 h 1765935"/>
              <a:gd name="connsiteX5" fmla="*/ 1960245 w 2834640"/>
              <a:gd name="connsiteY5" fmla="*/ 1245870 h 1765935"/>
              <a:gd name="connsiteX6" fmla="*/ 874395 w 2834640"/>
              <a:gd name="connsiteY6" fmla="*/ 1245870 h 1765935"/>
              <a:gd name="connsiteX7" fmla="*/ 0 w 2834640"/>
              <a:gd name="connsiteY7" fmla="*/ 0 h 1765935"/>
              <a:gd name="connsiteX8" fmla="*/ 5715 w 2834640"/>
              <a:gd name="connsiteY8" fmla="*/ 1205865 h 1765935"/>
              <a:gd name="connsiteX0" fmla="*/ 5715 w 2834640"/>
              <a:gd name="connsiteY0" fmla="*/ 1205865 h 1765935"/>
              <a:gd name="connsiteX1" fmla="*/ 868680 w 2834640"/>
              <a:gd name="connsiteY1" fmla="*/ 1531620 h 1765935"/>
              <a:gd name="connsiteX2" fmla="*/ 1971675 w 2834640"/>
              <a:gd name="connsiteY2" fmla="*/ 1525905 h 1765935"/>
              <a:gd name="connsiteX3" fmla="*/ 2834640 w 2834640"/>
              <a:gd name="connsiteY3" fmla="*/ 1765935 h 1765935"/>
              <a:gd name="connsiteX4" fmla="*/ 1960245 w 2834640"/>
              <a:gd name="connsiteY4" fmla="*/ 1245870 h 1765935"/>
              <a:gd name="connsiteX5" fmla="*/ 874395 w 2834640"/>
              <a:gd name="connsiteY5" fmla="*/ 1245870 h 1765935"/>
              <a:gd name="connsiteX6" fmla="*/ 0 w 2834640"/>
              <a:gd name="connsiteY6" fmla="*/ 0 h 1765935"/>
              <a:gd name="connsiteX7" fmla="*/ 5715 w 2834640"/>
              <a:gd name="connsiteY7" fmla="*/ 1205865 h 1765935"/>
              <a:gd name="connsiteX0" fmla="*/ 5715 w 1971675"/>
              <a:gd name="connsiteY0" fmla="*/ 1205865 h 1531620"/>
              <a:gd name="connsiteX1" fmla="*/ 868680 w 1971675"/>
              <a:gd name="connsiteY1" fmla="*/ 1531620 h 1531620"/>
              <a:gd name="connsiteX2" fmla="*/ 1971675 w 1971675"/>
              <a:gd name="connsiteY2" fmla="*/ 1525905 h 1531620"/>
              <a:gd name="connsiteX3" fmla="*/ 1960245 w 1971675"/>
              <a:gd name="connsiteY3" fmla="*/ 1245870 h 1531620"/>
              <a:gd name="connsiteX4" fmla="*/ 874395 w 1971675"/>
              <a:gd name="connsiteY4" fmla="*/ 1245870 h 1531620"/>
              <a:gd name="connsiteX5" fmla="*/ 0 w 1971675"/>
              <a:gd name="connsiteY5" fmla="*/ 0 h 1531620"/>
              <a:gd name="connsiteX6" fmla="*/ 5715 w 1971675"/>
              <a:gd name="connsiteY6" fmla="*/ 1205865 h 1531620"/>
              <a:gd name="connsiteX0" fmla="*/ 5715 w 1971675"/>
              <a:gd name="connsiteY0" fmla="*/ 1205865 h 1531620"/>
              <a:gd name="connsiteX1" fmla="*/ 868680 w 1971675"/>
              <a:gd name="connsiteY1" fmla="*/ 1531620 h 1531620"/>
              <a:gd name="connsiteX2" fmla="*/ 1971675 w 1971675"/>
              <a:gd name="connsiteY2" fmla="*/ 1525905 h 1531620"/>
              <a:gd name="connsiteX3" fmla="*/ 1960245 w 1971675"/>
              <a:gd name="connsiteY3" fmla="*/ 1245870 h 1531620"/>
              <a:gd name="connsiteX4" fmla="*/ 0 w 1971675"/>
              <a:gd name="connsiteY4" fmla="*/ 0 h 1531620"/>
              <a:gd name="connsiteX5" fmla="*/ 5715 w 1971675"/>
              <a:gd name="connsiteY5" fmla="*/ 1205865 h 1531620"/>
              <a:gd name="connsiteX0" fmla="*/ 872818 w 2838778"/>
              <a:gd name="connsiteY0" fmla="*/ 1371403 h 1697158"/>
              <a:gd name="connsiteX1" fmla="*/ 1735783 w 2838778"/>
              <a:gd name="connsiteY1" fmla="*/ 1697158 h 1697158"/>
              <a:gd name="connsiteX2" fmla="*/ 2838778 w 2838778"/>
              <a:gd name="connsiteY2" fmla="*/ 1691443 h 1697158"/>
              <a:gd name="connsiteX3" fmla="*/ 2827348 w 2838778"/>
              <a:gd name="connsiteY3" fmla="*/ 1411408 h 1697158"/>
              <a:gd name="connsiteX4" fmla="*/ 0 w 2838778"/>
              <a:gd name="connsiteY4" fmla="*/ 0 h 1697158"/>
              <a:gd name="connsiteX5" fmla="*/ 872818 w 2838778"/>
              <a:gd name="connsiteY5" fmla="*/ 1371403 h 1697158"/>
              <a:gd name="connsiteX0" fmla="*/ 5715 w 2838778"/>
              <a:gd name="connsiteY0" fmla="*/ 1205865 h 1697158"/>
              <a:gd name="connsiteX1" fmla="*/ 1735783 w 2838778"/>
              <a:gd name="connsiteY1" fmla="*/ 1697158 h 1697158"/>
              <a:gd name="connsiteX2" fmla="*/ 2838778 w 2838778"/>
              <a:gd name="connsiteY2" fmla="*/ 1691443 h 1697158"/>
              <a:gd name="connsiteX3" fmla="*/ 2827348 w 2838778"/>
              <a:gd name="connsiteY3" fmla="*/ 1411408 h 1697158"/>
              <a:gd name="connsiteX4" fmla="*/ 0 w 2838778"/>
              <a:gd name="connsiteY4" fmla="*/ 0 h 1697158"/>
              <a:gd name="connsiteX5" fmla="*/ 5715 w 2838778"/>
              <a:gd name="connsiteY5" fmla="*/ 1205865 h 1697158"/>
              <a:gd name="connsiteX0" fmla="*/ 5715 w 2838778"/>
              <a:gd name="connsiteY0" fmla="*/ 1205865 h 1691443"/>
              <a:gd name="connsiteX1" fmla="*/ 2838778 w 2838778"/>
              <a:gd name="connsiteY1" fmla="*/ 1691443 h 1691443"/>
              <a:gd name="connsiteX2" fmla="*/ 2827348 w 2838778"/>
              <a:gd name="connsiteY2" fmla="*/ 1411408 h 1691443"/>
              <a:gd name="connsiteX3" fmla="*/ 0 w 2838778"/>
              <a:gd name="connsiteY3" fmla="*/ 0 h 1691443"/>
              <a:gd name="connsiteX4" fmla="*/ 5715 w 2838778"/>
              <a:gd name="connsiteY4" fmla="*/ 1205865 h 1691443"/>
              <a:gd name="connsiteX0" fmla="*/ 5715 w 2830895"/>
              <a:gd name="connsiteY0" fmla="*/ 1205865 h 1746622"/>
              <a:gd name="connsiteX1" fmla="*/ 2830895 w 2830895"/>
              <a:gd name="connsiteY1" fmla="*/ 1746622 h 1746622"/>
              <a:gd name="connsiteX2" fmla="*/ 2827348 w 2830895"/>
              <a:gd name="connsiteY2" fmla="*/ 1411408 h 1746622"/>
              <a:gd name="connsiteX3" fmla="*/ 0 w 2830895"/>
              <a:gd name="connsiteY3" fmla="*/ 0 h 1746622"/>
              <a:gd name="connsiteX4" fmla="*/ 5715 w 2830895"/>
              <a:gd name="connsiteY4" fmla="*/ 1205865 h 1746622"/>
              <a:gd name="connsiteX0" fmla="*/ 5715 w 2835304"/>
              <a:gd name="connsiteY0" fmla="*/ 1205865 h 1746622"/>
              <a:gd name="connsiteX1" fmla="*/ 2830895 w 2835304"/>
              <a:gd name="connsiteY1" fmla="*/ 1746622 h 1746622"/>
              <a:gd name="connsiteX2" fmla="*/ 2835163 w 2835304"/>
              <a:gd name="connsiteY2" fmla="*/ 1419223 h 1746622"/>
              <a:gd name="connsiteX3" fmla="*/ 0 w 2835304"/>
              <a:gd name="connsiteY3" fmla="*/ 0 h 1746622"/>
              <a:gd name="connsiteX4" fmla="*/ 5715 w 2835304"/>
              <a:gd name="connsiteY4" fmla="*/ 1205865 h 1746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5304" h="1746622">
                <a:moveTo>
                  <a:pt x="5715" y="1205865"/>
                </a:moveTo>
                <a:lnTo>
                  <a:pt x="2830895" y="1746622"/>
                </a:lnTo>
                <a:cubicBezTo>
                  <a:pt x="2829713" y="1634884"/>
                  <a:pt x="2836345" y="1530961"/>
                  <a:pt x="2835163" y="1419223"/>
                </a:cubicBezTo>
                <a:lnTo>
                  <a:pt x="0" y="0"/>
                </a:lnTo>
                <a:lnTo>
                  <a:pt x="5715" y="1205865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4" name="Forme libre 143">
            <a:extLst>
              <a:ext uri="{FF2B5EF4-FFF2-40B4-BE49-F238E27FC236}">
                <a16:creationId xmlns:a16="http://schemas.microsoft.com/office/drawing/2014/main" id="{3982E75C-D5E7-5288-C09C-8CBB275DB402}"/>
              </a:ext>
            </a:extLst>
          </p:cNvPr>
          <p:cNvSpPr/>
          <p:nvPr/>
        </p:nvSpPr>
        <p:spPr>
          <a:xfrm>
            <a:off x="2097405" y="2726054"/>
            <a:ext cx="880404" cy="1496451"/>
          </a:xfrm>
          <a:custGeom>
            <a:avLst/>
            <a:gdLst>
              <a:gd name="connsiteX0" fmla="*/ 5715 w 2834640"/>
              <a:gd name="connsiteY0" fmla="*/ 1205865 h 1765935"/>
              <a:gd name="connsiteX1" fmla="*/ 868680 w 2834640"/>
              <a:gd name="connsiteY1" fmla="*/ 1531620 h 1765935"/>
              <a:gd name="connsiteX2" fmla="*/ 1971675 w 2834640"/>
              <a:gd name="connsiteY2" fmla="*/ 1525905 h 1765935"/>
              <a:gd name="connsiteX3" fmla="*/ 2834640 w 2834640"/>
              <a:gd name="connsiteY3" fmla="*/ 1765935 h 1765935"/>
              <a:gd name="connsiteX4" fmla="*/ 2834640 w 2834640"/>
              <a:gd name="connsiteY4" fmla="*/ 1428750 h 1765935"/>
              <a:gd name="connsiteX5" fmla="*/ 1960245 w 2834640"/>
              <a:gd name="connsiteY5" fmla="*/ 1245870 h 1765935"/>
              <a:gd name="connsiteX6" fmla="*/ 874395 w 2834640"/>
              <a:gd name="connsiteY6" fmla="*/ 1245870 h 1765935"/>
              <a:gd name="connsiteX7" fmla="*/ 0 w 2834640"/>
              <a:gd name="connsiteY7" fmla="*/ 0 h 1765935"/>
              <a:gd name="connsiteX8" fmla="*/ 5715 w 2834640"/>
              <a:gd name="connsiteY8" fmla="*/ 1205865 h 1765935"/>
              <a:gd name="connsiteX0" fmla="*/ 5715 w 2834640"/>
              <a:gd name="connsiteY0" fmla="*/ 1205865 h 1765935"/>
              <a:gd name="connsiteX1" fmla="*/ 868680 w 2834640"/>
              <a:gd name="connsiteY1" fmla="*/ 1531620 h 1765935"/>
              <a:gd name="connsiteX2" fmla="*/ 1971675 w 2834640"/>
              <a:gd name="connsiteY2" fmla="*/ 1525905 h 1765935"/>
              <a:gd name="connsiteX3" fmla="*/ 2834640 w 2834640"/>
              <a:gd name="connsiteY3" fmla="*/ 1765935 h 1765935"/>
              <a:gd name="connsiteX4" fmla="*/ 1960245 w 2834640"/>
              <a:gd name="connsiteY4" fmla="*/ 1245870 h 1765935"/>
              <a:gd name="connsiteX5" fmla="*/ 874395 w 2834640"/>
              <a:gd name="connsiteY5" fmla="*/ 1245870 h 1765935"/>
              <a:gd name="connsiteX6" fmla="*/ 0 w 2834640"/>
              <a:gd name="connsiteY6" fmla="*/ 0 h 1765935"/>
              <a:gd name="connsiteX7" fmla="*/ 5715 w 2834640"/>
              <a:gd name="connsiteY7" fmla="*/ 1205865 h 1765935"/>
              <a:gd name="connsiteX0" fmla="*/ 5715 w 1971675"/>
              <a:gd name="connsiteY0" fmla="*/ 1205865 h 1531620"/>
              <a:gd name="connsiteX1" fmla="*/ 868680 w 1971675"/>
              <a:gd name="connsiteY1" fmla="*/ 1531620 h 1531620"/>
              <a:gd name="connsiteX2" fmla="*/ 1971675 w 1971675"/>
              <a:gd name="connsiteY2" fmla="*/ 1525905 h 1531620"/>
              <a:gd name="connsiteX3" fmla="*/ 1960245 w 1971675"/>
              <a:gd name="connsiteY3" fmla="*/ 1245870 h 1531620"/>
              <a:gd name="connsiteX4" fmla="*/ 874395 w 1971675"/>
              <a:gd name="connsiteY4" fmla="*/ 1245870 h 1531620"/>
              <a:gd name="connsiteX5" fmla="*/ 0 w 1971675"/>
              <a:gd name="connsiteY5" fmla="*/ 0 h 1531620"/>
              <a:gd name="connsiteX6" fmla="*/ 5715 w 1971675"/>
              <a:gd name="connsiteY6" fmla="*/ 1205865 h 1531620"/>
              <a:gd name="connsiteX0" fmla="*/ 5715 w 1971675"/>
              <a:gd name="connsiteY0" fmla="*/ 1205865 h 1531620"/>
              <a:gd name="connsiteX1" fmla="*/ 868680 w 1971675"/>
              <a:gd name="connsiteY1" fmla="*/ 1531620 h 1531620"/>
              <a:gd name="connsiteX2" fmla="*/ 1971675 w 1971675"/>
              <a:gd name="connsiteY2" fmla="*/ 1525905 h 1531620"/>
              <a:gd name="connsiteX3" fmla="*/ 874395 w 1971675"/>
              <a:gd name="connsiteY3" fmla="*/ 1245870 h 1531620"/>
              <a:gd name="connsiteX4" fmla="*/ 0 w 1971675"/>
              <a:gd name="connsiteY4" fmla="*/ 0 h 1531620"/>
              <a:gd name="connsiteX5" fmla="*/ 5715 w 1971675"/>
              <a:gd name="connsiteY5" fmla="*/ 1205865 h 1531620"/>
              <a:gd name="connsiteX0" fmla="*/ 5715 w 874395"/>
              <a:gd name="connsiteY0" fmla="*/ 1205865 h 1531620"/>
              <a:gd name="connsiteX1" fmla="*/ 868680 w 874395"/>
              <a:gd name="connsiteY1" fmla="*/ 1531620 h 1531620"/>
              <a:gd name="connsiteX2" fmla="*/ 874395 w 874395"/>
              <a:gd name="connsiteY2" fmla="*/ 1245870 h 1531620"/>
              <a:gd name="connsiteX3" fmla="*/ 0 w 874395"/>
              <a:gd name="connsiteY3" fmla="*/ 0 h 1531620"/>
              <a:gd name="connsiteX4" fmla="*/ 5715 w 874395"/>
              <a:gd name="connsiteY4" fmla="*/ 1205865 h 1531620"/>
              <a:gd name="connsiteX0" fmla="*/ 5715 w 874395"/>
              <a:gd name="connsiteY0" fmla="*/ 1205865 h 1531620"/>
              <a:gd name="connsiteX1" fmla="*/ 868680 w 874395"/>
              <a:gd name="connsiteY1" fmla="*/ 1531620 h 1531620"/>
              <a:gd name="connsiteX2" fmla="*/ 874395 w 874395"/>
              <a:gd name="connsiteY2" fmla="*/ 1163809 h 1531620"/>
              <a:gd name="connsiteX3" fmla="*/ 0 w 874395"/>
              <a:gd name="connsiteY3" fmla="*/ 0 h 1531620"/>
              <a:gd name="connsiteX4" fmla="*/ 5715 w 874395"/>
              <a:gd name="connsiteY4" fmla="*/ 1205865 h 1531620"/>
              <a:gd name="connsiteX0" fmla="*/ 5715 w 880404"/>
              <a:gd name="connsiteY0" fmla="*/ 1205865 h 1496451"/>
              <a:gd name="connsiteX1" fmla="*/ 880404 w 880404"/>
              <a:gd name="connsiteY1" fmla="*/ 1496451 h 1496451"/>
              <a:gd name="connsiteX2" fmla="*/ 874395 w 880404"/>
              <a:gd name="connsiteY2" fmla="*/ 1163809 h 1496451"/>
              <a:gd name="connsiteX3" fmla="*/ 0 w 880404"/>
              <a:gd name="connsiteY3" fmla="*/ 0 h 1496451"/>
              <a:gd name="connsiteX4" fmla="*/ 5715 w 880404"/>
              <a:gd name="connsiteY4" fmla="*/ 1205865 h 1496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0404" h="1496451">
                <a:moveTo>
                  <a:pt x="5715" y="1205865"/>
                </a:moveTo>
                <a:lnTo>
                  <a:pt x="880404" y="1496451"/>
                </a:lnTo>
                <a:lnTo>
                  <a:pt x="874395" y="1163809"/>
                </a:lnTo>
                <a:lnTo>
                  <a:pt x="0" y="0"/>
                </a:lnTo>
                <a:lnTo>
                  <a:pt x="5715" y="1205865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Chart 3">
            <a:extLst>
              <a:ext uri="{FF2B5EF4-FFF2-40B4-BE49-F238E27FC236}">
                <a16:creationId xmlns:a16="http://schemas.microsoft.com/office/drawing/2014/main" id="{AD42AB7E-F21B-741D-14A6-593E39DC5B7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4377160"/>
              </p:ext>
            </p:extLst>
          </p:nvPr>
        </p:nvGraphicFramePr>
        <p:xfrm>
          <a:off x="487363" y="2141538"/>
          <a:ext cx="6056312" cy="2935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cxnSp>
        <p:nvCxnSpPr>
          <p:cNvPr id="77" name="Connecteur droit 76">
            <a:extLst>
              <a:ext uri="{FF2B5EF4-FFF2-40B4-BE49-F238E27FC236}">
                <a16:creationId xmlns:a16="http://schemas.microsoft.com/office/drawing/2014/main" id="{43DCEE19-1B70-3DDB-7282-3DB76E4B65FA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004888" y="2449513"/>
            <a:ext cx="10922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5AA07D1B-F24C-916C-CEE2-FBB2DD015C3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2744788" y="4829175"/>
            <a:ext cx="15398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C72FCEB1-7FC8-43D8-949D-0DEEEC626265}" type="datetime'V''''i''''''s''it''''e''''s'''' à d''o''m''i''''ci''l''''e'">
              <a:rPr lang="fr-FR" altLang="en-US" b="1" smtClean="0">
                <a:solidFill>
                  <a:srgbClr val="000000"/>
                </a:solidFill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Visites à domicile</a:t>
            </a:fld>
            <a:endParaRPr lang="fr-FR" b="1">
              <a:solidFill>
                <a:srgbClr val="000000"/>
              </a:solidFill>
              <a:latin typeface="+mn-lt"/>
            </a:endParaRPr>
          </a:p>
        </p:txBody>
      </p:sp>
      <p:sp>
        <p:nvSpPr>
          <p:cNvPr id="7" name="Espace réservé du texte 4">
            <a:extLst>
              <a:ext uri="{FF2B5EF4-FFF2-40B4-BE49-F238E27FC236}">
                <a16:creationId xmlns:a16="http://schemas.microsoft.com/office/drawing/2014/main" id="{53FC23D8-DBDE-5041-3AE8-947A2EED965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5170488" y="4829175"/>
            <a:ext cx="6175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6BC549D6-ACFD-464B-BDAA-6FDC196ED647}" type="datetime'''E''''''''''''''''H''''''''''''''''''''''P''''AD'''''">
              <a:rPr lang="fr-FR" altLang="en-US" b="1" smtClean="0">
                <a:solidFill>
                  <a:srgbClr val="000000"/>
                </a:solidFill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EHPAD</a:t>
            </a:fld>
            <a:endParaRPr lang="fr-FR" b="1">
              <a:solidFill>
                <a:srgbClr val="000000"/>
              </a:solidFill>
              <a:latin typeface="+mn-lt"/>
            </a:endParaRPr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0D4FC1A1-E26B-9AED-A2B7-0FB79D4DD060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03325" y="4829175"/>
            <a:ext cx="695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57FB0C5D-B6FE-4B54-85CF-FEACDFF7AE6D}" type="datetime'''''C''''''a''''''b''''''''''''''i''''''''''''n''''et'''''''">
              <a:rPr lang="fr-FR" altLang="en-US" b="1" smtClean="0">
                <a:solidFill>
                  <a:srgbClr val="000000"/>
                </a:solidFill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Cabinet</a:t>
            </a:fld>
            <a:endParaRPr lang="fr-FR" b="1">
              <a:solidFill>
                <a:srgbClr val="000000"/>
              </a:solidFill>
              <a:latin typeface="+mn-lt"/>
            </a:endParaRPr>
          </a:p>
        </p:txBody>
      </p:sp>
      <p:sp>
        <p:nvSpPr>
          <p:cNvPr id="9" name="Espace réservé du texte 4">
            <a:extLst>
              <a:ext uri="{FF2B5EF4-FFF2-40B4-BE49-F238E27FC236}">
                <a16:creationId xmlns:a16="http://schemas.microsoft.com/office/drawing/2014/main" id="{DB5B0E25-B108-C3AF-E2C6-95DF455EBED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3365499" y="3684588"/>
            <a:ext cx="298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AF6630DF-2D05-48C0-8464-F3D298F0E6CE}" type="datetime'''''''''1,''''''''''''''''''''''''''''''''''''''''''''''3'''''">
              <a:rPr lang="fr-FR" altLang="en-US" b="1" smtClean="0">
                <a:solidFill>
                  <a:srgbClr val="000000"/>
                </a:solidFill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1,3</a:t>
            </a:fld>
            <a:endParaRPr lang="fr-FR" b="1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0" name="Espace réservé du texte 4">
            <a:extLst>
              <a:ext uri="{FF2B5EF4-FFF2-40B4-BE49-F238E27FC236}">
                <a16:creationId xmlns:a16="http://schemas.microsoft.com/office/drawing/2014/main" id="{85959F25-D147-D1E0-3D2A-C2B426D49A77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5310187" y="3927475"/>
            <a:ext cx="336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929A155D-6378-414C-BC6C-DD607E7FE16F}" type="datetime'0,''''''''''''9'''''''''''''''''''">
              <a:rPr lang="fr-FR" altLang="en-US" b="1" smtClean="0">
                <a:solidFill>
                  <a:srgbClr val="000000"/>
                </a:solidFill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0,9</a:t>
            </a:fld>
            <a:endParaRPr lang="fr-FR" b="1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1" name="Espace réservé du texte 4">
            <a:extLst>
              <a:ext uri="{FF2B5EF4-FFF2-40B4-BE49-F238E27FC236}">
                <a16:creationId xmlns:a16="http://schemas.microsoft.com/office/drawing/2014/main" id="{3926E5BC-1A81-4100-26BD-44F093E73219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381125" y="2230438"/>
            <a:ext cx="339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6602DEA6-71CD-44BD-BDEB-DAC0832E23A6}" type="datetime'''''''''''''''''''''''''3'''''''''',''''''''''4'''''''''''">
              <a:rPr lang="fr-FR" altLang="en-US" b="1" smtClean="0">
                <a:solidFill>
                  <a:srgbClr val="000000"/>
                </a:solidFill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3,4</a:t>
            </a:fld>
            <a:endParaRPr lang="fr-FR" b="1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B017F30-5804-4314-AB1D-47C51EA92B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B5A6716-DBF2-AF4C-9665-1BA53E8D7A19}" type="slidenum">
              <a:rPr lang="fr-FR" smtClean="0"/>
              <a:pPr/>
              <a:t>12</a:t>
            </a:fld>
            <a:endParaRPr lang="fr-FR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48C5D73F-3F2F-C092-1302-9210A8D59FF4}"/>
              </a:ext>
            </a:extLst>
          </p:cNvPr>
          <p:cNvSpPr txBox="1">
            <a:spLocks/>
          </p:cNvSpPr>
          <p:nvPr/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5A6716-DBF2-AF4C-9665-1BA53E8D7A19}" type="slidenum">
              <a:rPr lang="fr-FR" smtClean="0"/>
              <a:pPr/>
              <a:t>12</a:t>
            </a:fld>
            <a:endParaRPr lang="fr-FR"/>
          </a:p>
        </p:txBody>
      </p:sp>
      <p:sp>
        <p:nvSpPr>
          <p:cNvPr id="14" name="Titre 2">
            <a:extLst>
              <a:ext uri="{FF2B5EF4-FFF2-40B4-BE49-F238E27FC236}">
                <a16:creationId xmlns:a16="http://schemas.microsoft.com/office/drawing/2014/main" id="{D4B25DBD-AE33-FD2D-DEEF-185AEA547523}"/>
              </a:ext>
            </a:extLst>
          </p:cNvPr>
          <p:cNvSpPr txBox="1">
            <a:spLocks/>
          </p:cNvSpPr>
          <p:nvPr/>
        </p:nvSpPr>
        <p:spPr>
          <a:xfrm>
            <a:off x="536574" y="314960"/>
            <a:ext cx="11115675" cy="8964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i="0" kern="1200" baseline="0">
                <a:solidFill>
                  <a:schemeClr val="accent1"/>
                </a:solidFill>
                <a:latin typeface="CocogooseProNarrow Darkmode" panose="00000400000000000000" pitchFamily="2" charset="0"/>
                <a:ea typeface="+mj-ea"/>
                <a:cs typeface="+mj-cs"/>
              </a:defRPr>
            </a:lvl1pPr>
          </a:lstStyle>
          <a:p>
            <a:r>
              <a:rPr lang="fr-FR"/>
              <a:t>Les séances à domicile ou en EHPAD permettent une réduction des émissions liées aux déplacements d’environ 75% </a:t>
            </a:r>
            <a:endParaRPr lang="fr-FR" noProof="0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C07F08D2-7CD1-093E-A68A-E7ECC5FE671B}"/>
              </a:ext>
            </a:extLst>
          </p:cNvPr>
          <p:cNvSpPr txBox="1"/>
          <p:nvPr/>
        </p:nvSpPr>
        <p:spPr>
          <a:xfrm>
            <a:off x="570046" y="1345156"/>
            <a:ext cx="5891163" cy="3937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Century Gothic"/>
              </a:rPr>
              <a:t>Empreinte carbone d’une séance de kinésithérapie selon le </a:t>
            </a:r>
            <a:r>
              <a:rPr lang="fr-FR" sz="1400" b="1">
                <a:solidFill>
                  <a:srgbClr val="000000"/>
                </a:solidFill>
                <a:latin typeface="Inter" panose="02000503000000020004" pitchFamily="2" charset="0"/>
                <a:ea typeface="Inter" panose="02000503000000020004" pitchFamily="2" charset="0"/>
                <a:cs typeface="Century Gothic"/>
              </a:rPr>
              <a:t>profil </a:t>
            </a:r>
            <a:r>
              <a:rPr lang="fr-FR" sz="1400">
                <a:solidFill>
                  <a:srgbClr val="000000"/>
                </a:solidFill>
                <a:latin typeface="Inter" panose="02000503000000020004" pitchFamily="2" charset="0"/>
                <a:ea typeface="Inter" panose="02000503000000020004" pitchFamily="2" charset="0"/>
                <a:cs typeface="Century Gothic"/>
              </a:rPr>
              <a:t>(kgCO</a:t>
            </a:r>
            <a:r>
              <a:rPr lang="fr-FR" sz="1400" baseline="-25000">
                <a:solidFill>
                  <a:srgbClr val="000000"/>
                </a:solidFill>
                <a:latin typeface="Inter" panose="02000503000000020004" pitchFamily="2" charset="0"/>
                <a:ea typeface="Inter" panose="02000503000000020004" pitchFamily="2" charset="0"/>
                <a:cs typeface="Century Gothic"/>
              </a:rPr>
              <a:t>2</a:t>
            </a:r>
            <a:r>
              <a:rPr lang="fr-FR" sz="1400">
                <a:solidFill>
                  <a:srgbClr val="000000"/>
                </a:solidFill>
                <a:latin typeface="Inter" panose="02000503000000020004" pitchFamily="2" charset="0"/>
                <a:ea typeface="Inter" panose="02000503000000020004" pitchFamily="2" charset="0"/>
                <a:cs typeface="Century Gothic"/>
              </a:rPr>
              <a:t>e/séance)</a:t>
            </a:r>
            <a:endParaRPr kumimoji="0" lang="fr-FR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Century Gothic"/>
            </a:endParaRPr>
          </a:p>
        </p:txBody>
      </p:sp>
      <p:cxnSp>
        <p:nvCxnSpPr>
          <p:cNvPr id="13" name="Straight Connector 58">
            <a:extLst>
              <a:ext uri="{FF2B5EF4-FFF2-40B4-BE49-F238E27FC236}">
                <a16:creationId xmlns:a16="http://schemas.microsoft.com/office/drawing/2014/main" id="{E7A9E8A9-57B1-2CCF-0276-E4CB8AB89454}"/>
              </a:ext>
            </a:extLst>
          </p:cNvPr>
          <p:cNvCxnSpPr>
            <a:cxnSpLocks/>
          </p:cNvCxnSpPr>
          <p:nvPr/>
        </p:nvCxnSpPr>
        <p:spPr>
          <a:xfrm>
            <a:off x="570047" y="1842040"/>
            <a:ext cx="5891164" cy="0"/>
          </a:xfrm>
          <a:prstGeom prst="line">
            <a:avLst/>
          </a:prstGeom>
          <a:ln w="6350" cap="sq">
            <a:solidFill>
              <a:schemeClr val="tx1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700D5162-A0B3-45AB-725C-3FDE986B9E58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608013" y="5981700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8DECDE4-95F1-F4FE-AC33-8F27E0A992CE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608013" y="5219700"/>
            <a:ext cx="250825" cy="187325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37CBD5B-9C71-E7E9-0892-BE3012634172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3581400" y="5473700"/>
            <a:ext cx="250825" cy="187325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ED8E380-F25C-EB88-F5BE-CACC9D5A591C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08013" y="5473700"/>
            <a:ext cx="250825" cy="187325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E21C589-7585-543D-FC7C-9BFE54A7A873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3581400" y="5219700"/>
            <a:ext cx="250825" cy="187325"/>
          </a:xfrm>
          <a:prstGeom prst="rect">
            <a:avLst/>
          </a:prstGeom>
          <a:solidFill>
            <a:srgbClr val="FFEDB9"/>
          </a:solidFill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90C2D04-741A-D7E6-7D47-F43C7C7BAA9F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608013" y="5727700"/>
            <a:ext cx="250825" cy="187325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0D7629C-830A-E8B7-0B94-1F34C2551D30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581400" y="5727700"/>
            <a:ext cx="250825" cy="187325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6" name="Espace réservé du texte 4">
            <a:extLst>
              <a:ext uri="{FF2B5EF4-FFF2-40B4-BE49-F238E27FC236}">
                <a16:creationId xmlns:a16="http://schemas.microsoft.com/office/drawing/2014/main" id="{D7900048-59D2-7390-0CAC-91E3F727D8CF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909638" y="5992813"/>
            <a:ext cx="2090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F4483ACF-744C-417B-AD08-0455D464EDCF}" type="datetime'D''épla''''cem''''e''''''''nts ''''''''''pa''t''ientèle'''''''">
              <a:rPr lang="fr-FR" altLang="en-US" smtClean="0">
                <a:solidFill>
                  <a:srgbClr val="000000"/>
                </a:solidFill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Déplacements patientèle</a:t>
            </a:fld>
            <a:endParaRPr lang="fr-FR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4" name="Espace réservé du texte 4">
            <a:extLst>
              <a:ext uri="{FF2B5EF4-FFF2-40B4-BE49-F238E27FC236}">
                <a16:creationId xmlns:a16="http://schemas.microsoft.com/office/drawing/2014/main" id="{08A8A30A-1DA0-37B7-F738-581AAF3D3A13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3883025" y="5230813"/>
            <a:ext cx="15319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9CF083D8-457B-4499-907D-66A1CDD892BD}" type="datetime'''Dép''''la''''''c''''e''m''e''''''''nts ''''''''pr''o'''''''">
              <a:rPr lang="fr-FR" altLang="en-US" smtClean="0">
                <a:solidFill>
                  <a:srgbClr val="000000"/>
                </a:solidFill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Déplacements pro</a:t>
            </a:fld>
            <a:endParaRPr lang="fr-FR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5" name="Espace réservé du texte 4">
            <a:extLst>
              <a:ext uri="{FF2B5EF4-FFF2-40B4-BE49-F238E27FC236}">
                <a16:creationId xmlns:a16="http://schemas.microsoft.com/office/drawing/2014/main" id="{62A892BE-D6C7-B078-A58C-AC02756CACCD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909638" y="5738813"/>
            <a:ext cx="14382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D1878A1B-C930-4454-95CE-8C69B3D3BDCF}" type="datetime'Ene''r''''g''i''''''''''e'''' ''''''''''des ''''''si''t''es'''">
              <a:rPr lang="fr-FR" altLang="en-US" smtClean="0">
                <a:solidFill>
                  <a:srgbClr val="000000"/>
                </a:solidFill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Energie des sites</a:t>
            </a:fld>
            <a:endParaRPr lang="fr-FR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1" name="Espace réservé du texte 4">
            <a:extLst>
              <a:ext uri="{FF2B5EF4-FFF2-40B4-BE49-F238E27FC236}">
                <a16:creationId xmlns:a16="http://schemas.microsoft.com/office/drawing/2014/main" id="{33049541-F51C-5314-A843-DD07440E0C8B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3883025" y="5484813"/>
            <a:ext cx="1308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7AAD0A19-DAAB-4E7C-B9F1-5E6B3A2FE458}" type="datetime'I''''mmo''''''b''''''''''i''l''i''''''s''''a''t''ions'''''''">
              <a:rPr lang="fr-FR" altLang="en-US" smtClean="0">
                <a:solidFill>
                  <a:srgbClr val="000000"/>
                </a:solidFill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Immobilisations</a:t>
            </a:fld>
            <a:endParaRPr lang="fr-FR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15539B5F-F02A-E7D6-6935-02A715E52F68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909638" y="5484813"/>
            <a:ext cx="696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A068F37B-6B1E-4E99-B766-FFBC188015CE}" type="datetime'''''Dé''c''''h''''''''''''''e''''''''t''''''''s'''''''''''''">
              <a:rPr lang="fr-FR" altLang="en-US" smtClean="0">
                <a:solidFill>
                  <a:srgbClr val="000000"/>
                </a:solidFill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Déchets</a:t>
            </a:fld>
            <a:endParaRPr lang="fr-FR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7" name="Espace réservé du texte 4">
            <a:extLst>
              <a:ext uri="{FF2B5EF4-FFF2-40B4-BE49-F238E27FC236}">
                <a16:creationId xmlns:a16="http://schemas.microsoft.com/office/drawing/2014/main" id="{52F8B8D4-6D46-5B5E-9E53-2901BBF495CC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3883025" y="5738813"/>
            <a:ext cx="5826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F17D37C8-0B96-4060-B4DD-4A5F9F9A4447}" type="datetime'''''A''''''''c''h''''''''''''''''''''''''''''''''ats'''">
              <a:rPr lang="fr-FR" altLang="en-US" smtClean="0">
                <a:solidFill>
                  <a:srgbClr val="000000"/>
                </a:solidFill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Achats</a:t>
            </a:fld>
            <a:endParaRPr lang="fr-FR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4B50CC3C-F2A9-1110-0E0A-4F45380A9EB7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909638" y="5230813"/>
            <a:ext cx="25701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ECEA9FBC-EC4E-48EF-84DF-38264F0A5600}" type="datetime'R''ech''ar''''ges ''de'' gaz f''r''''igorigè''''''ne''s'''''''">
              <a:rPr lang="fr-FR" altLang="en-US" smtClean="0">
                <a:solidFill>
                  <a:srgbClr val="000000"/>
                </a:solidFill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Recharges de gaz frigorigènes</a:t>
            </a:fld>
            <a:endParaRPr lang="fr-FR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8" name="Rectangle : coins arrondis 47">
            <a:extLst>
              <a:ext uri="{FF2B5EF4-FFF2-40B4-BE49-F238E27FC236}">
                <a16:creationId xmlns:a16="http://schemas.microsoft.com/office/drawing/2014/main" id="{86268B06-91A7-345D-3C3E-0959AB50E500}"/>
              </a:ext>
            </a:extLst>
          </p:cNvPr>
          <p:cNvSpPr/>
          <p:nvPr/>
        </p:nvSpPr>
        <p:spPr>
          <a:xfrm>
            <a:off x="6648358" y="1842040"/>
            <a:ext cx="5003891" cy="4229722"/>
          </a:xfrm>
          <a:prstGeom prst="roundRect">
            <a:avLst>
              <a:gd name="adj" fmla="val 369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Espace réservé du texte 6">
            <a:extLst>
              <a:ext uri="{FF2B5EF4-FFF2-40B4-BE49-F238E27FC236}">
                <a16:creationId xmlns:a16="http://schemas.microsoft.com/office/drawing/2014/main" id="{AD4FCEFF-726A-A0A6-66DE-18BAEFC1E054}"/>
              </a:ext>
            </a:extLst>
          </p:cNvPr>
          <p:cNvSpPr txBox="1">
            <a:spLocks/>
          </p:cNvSpPr>
          <p:nvPr/>
        </p:nvSpPr>
        <p:spPr>
          <a:xfrm>
            <a:off x="6812140" y="2230437"/>
            <a:ext cx="4554359" cy="3500437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960"/>
              </a:lnSpc>
              <a:buClr>
                <a:schemeClr val="tx2"/>
              </a:buClr>
              <a:buFont typeface="Wingdings" pitchFamily="2" charset="2"/>
              <a:buChar char="Ø"/>
            </a:pPr>
            <a:r>
              <a:rPr lang="fr-FR" sz="1050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Déplacements patientèle : </a:t>
            </a:r>
            <a:r>
              <a:rPr lang="fr-FR" sz="105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Déplacements de la patientèle vers et depuis le cabinet pour se rendre à leurs consultations</a:t>
            </a:r>
            <a:endParaRPr lang="fr-FR" sz="1050" b="1">
              <a:solidFill>
                <a:schemeClr val="tx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  <a:p>
            <a:pPr>
              <a:lnSpc>
                <a:spcPts val="960"/>
              </a:lnSpc>
              <a:buClr>
                <a:schemeClr val="tx2"/>
              </a:buClr>
              <a:buFont typeface="Wingdings" pitchFamily="2" charset="2"/>
              <a:buChar char="Ø"/>
            </a:pPr>
            <a:r>
              <a:rPr lang="fr-FR" sz="1050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Déplacements professionnels : </a:t>
            </a:r>
            <a:r>
              <a:rPr lang="fr-FR" sz="105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Déplacements des MK et de l’ensemble des personnes du cabinet (déplacements domicile-travail, séances à domicile/EHPAD) y compris les déplacements ponctuels (séminaires, MSP, CPTS, syndicaux, etc.)</a:t>
            </a:r>
          </a:p>
          <a:p>
            <a:pPr marL="0" indent="0">
              <a:lnSpc>
                <a:spcPts val="960"/>
              </a:lnSpc>
              <a:buClr>
                <a:schemeClr val="tx2"/>
              </a:buClr>
              <a:buNone/>
            </a:pPr>
            <a:endParaRPr lang="fr-FR" sz="1050" b="1">
              <a:solidFill>
                <a:schemeClr val="tx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  <a:p>
            <a:pPr marL="0" indent="0">
              <a:lnSpc>
                <a:spcPts val="960"/>
              </a:lnSpc>
              <a:buClr>
                <a:schemeClr val="tx2"/>
              </a:buClr>
              <a:buNone/>
            </a:pPr>
            <a:r>
              <a:rPr lang="fr-FR" sz="105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Le besoin de mobilité pour se rendre chez les patients ou en EHPAD est largement compensé par la suppression des déplacements auparavant effectués par la patientèle.</a:t>
            </a:r>
          </a:p>
          <a:p>
            <a:pPr>
              <a:lnSpc>
                <a:spcPts val="960"/>
              </a:lnSpc>
              <a:buClr>
                <a:schemeClr val="tx2"/>
              </a:buClr>
            </a:pPr>
            <a:r>
              <a:rPr lang="fr-FR" sz="105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Déplacements des kinés mieux optimisés (concentration des déplacements par zone géographique, optimisation des tournées, etc.)</a:t>
            </a:r>
          </a:p>
        </p:txBody>
      </p:sp>
      <p:sp>
        <p:nvSpPr>
          <p:cNvPr id="145" name="ZoneTexte 144">
            <a:extLst>
              <a:ext uri="{FF2B5EF4-FFF2-40B4-BE49-F238E27FC236}">
                <a16:creationId xmlns:a16="http://schemas.microsoft.com/office/drawing/2014/main" id="{781BA602-2DDE-3ACE-0D28-8A077801E345}"/>
              </a:ext>
            </a:extLst>
          </p:cNvPr>
          <p:cNvSpPr txBox="1"/>
          <p:nvPr/>
        </p:nvSpPr>
        <p:spPr>
          <a:xfrm>
            <a:off x="2197659" y="3628688"/>
            <a:ext cx="46166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fr-FR" sz="1400" b="1">
                <a:solidFill>
                  <a:schemeClr val="accent6"/>
                </a:solidFill>
              </a:rPr>
              <a:t>-78%</a:t>
            </a:r>
          </a:p>
        </p:txBody>
      </p:sp>
      <p:sp>
        <p:nvSpPr>
          <p:cNvPr id="157" name="ZoneTexte 156">
            <a:extLst>
              <a:ext uri="{FF2B5EF4-FFF2-40B4-BE49-F238E27FC236}">
                <a16:creationId xmlns:a16="http://schemas.microsoft.com/office/drawing/2014/main" id="{23FCE99D-097B-353C-C8B4-92D8A8450AE4}"/>
              </a:ext>
            </a:extLst>
          </p:cNvPr>
          <p:cNvSpPr txBox="1"/>
          <p:nvPr/>
        </p:nvSpPr>
        <p:spPr>
          <a:xfrm>
            <a:off x="4252664" y="4070578"/>
            <a:ext cx="46006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fr-FR" sz="1400" b="1">
                <a:solidFill>
                  <a:schemeClr val="accent6"/>
                </a:solidFill>
              </a:rPr>
              <a:t>-72%</a:t>
            </a:r>
          </a:p>
        </p:txBody>
      </p:sp>
    </p:spTree>
    <p:extLst>
      <p:ext uri="{BB962C8B-B14F-4D97-AF65-F5344CB8AC3E}">
        <p14:creationId xmlns:p14="http://schemas.microsoft.com/office/powerpoint/2010/main" val="40825418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think-cell data - do not delete" hidden="1">
            <a:extLst>
              <a:ext uri="{FF2B5EF4-FFF2-40B4-BE49-F238E27FC236}">
                <a16:creationId xmlns:a16="http://schemas.microsoft.com/office/drawing/2014/main" id="{12AD1348-4901-E4CC-47FF-A554BD62EE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81400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1" imgW="7772400" imgH="10058400" progId="TCLayout.ActiveDocument.1">
                  <p:embed/>
                </p:oleObj>
              </mc:Choice>
              <mc:Fallback>
                <p:oleObj name="Diapositive think-cell" r:id="rId21" imgW="7772400" imgH="10058400" progId="TCLayout.ActiveDocument.1">
                  <p:embed/>
                  <p:pic>
                    <p:nvPicPr>
                      <p:cNvPr id="5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AD1348-4901-E4CC-47FF-A554BD62E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2CDA640-B746-B854-FCB9-89D76B9B26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B5A6716-DBF2-AF4C-9665-1BA53E8D7A19}" type="slidenum">
              <a:rPr lang="fr-FR" smtClean="0"/>
              <a:pPr/>
              <a:t>13</a:t>
            </a:fld>
            <a:endParaRPr lang="fr-FR"/>
          </a:p>
        </p:txBody>
      </p: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8EC52631-5579-E5F9-C619-0B891EE7198E}"/>
              </a:ext>
            </a:extLst>
          </p:cNvPr>
          <p:cNvSpPr/>
          <p:nvPr/>
        </p:nvSpPr>
        <p:spPr>
          <a:xfrm>
            <a:off x="2961182" y="1087395"/>
            <a:ext cx="6264874" cy="5010193"/>
          </a:xfrm>
          <a:prstGeom prst="roundRect">
            <a:avLst>
              <a:gd name="adj" fmla="val 369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tabLst>
                <a:tab pos="431800" algn="l"/>
              </a:tabLst>
            </a:pPr>
            <a:r>
              <a:rPr lang="fr-FR" b="1">
                <a:solidFill>
                  <a:schemeClr val="tx2"/>
                </a:solidFill>
              </a:rPr>
              <a:t>Empreinte carbone d’une séance au cabinet                      </a:t>
            </a:r>
            <a:r>
              <a:rPr lang="fr-FR" sz="1400">
                <a:solidFill>
                  <a:schemeClr val="tx2"/>
                </a:solidFill>
              </a:rPr>
              <a:t>(% du total)</a:t>
            </a:r>
          </a:p>
        </p:txBody>
      </p:sp>
      <p:sp>
        <p:nvSpPr>
          <p:cNvPr id="9" name="Titre 2">
            <a:extLst>
              <a:ext uri="{FF2B5EF4-FFF2-40B4-BE49-F238E27FC236}">
                <a16:creationId xmlns:a16="http://schemas.microsoft.com/office/drawing/2014/main" id="{38293743-742E-58E7-D738-4140205D5176}"/>
              </a:ext>
            </a:extLst>
          </p:cNvPr>
          <p:cNvSpPr txBox="1">
            <a:spLocks/>
          </p:cNvSpPr>
          <p:nvPr/>
        </p:nvSpPr>
        <p:spPr>
          <a:xfrm>
            <a:off x="536574" y="314960"/>
            <a:ext cx="11115675" cy="8964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500">
                <a:solidFill>
                  <a:schemeClr val="accent1">
                    <a:lumMod val="40000"/>
                    <a:lumOff val="60000"/>
                  </a:schemeClr>
                </a:solidFill>
              </a:rPr>
              <a:t>Zoom sur une séance dans un cabinet</a:t>
            </a:r>
          </a:p>
        </p:txBody>
      </p:sp>
      <p:sp>
        <p:nvSpPr>
          <p:cNvPr id="10" name="Espace réservé du numéro de diapositive 3">
            <a:extLst>
              <a:ext uri="{FF2B5EF4-FFF2-40B4-BE49-F238E27FC236}">
                <a16:creationId xmlns:a16="http://schemas.microsoft.com/office/drawing/2014/main" id="{FB1D2747-9F02-8429-DC4F-6F355BAB8781}"/>
              </a:ext>
            </a:extLst>
          </p:cNvPr>
          <p:cNvSpPr txBox="1">
            <a:spLocks/>
          </p:cNvSpPr>
          <p:nvPr/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5A6716-DBF2-AF4C-9665-1BA53E8D7A19}" type="slidenum">
              <a:rPr lang="fr-FR" smtClean="0"/>
              <a:pPr/>
              <a:t>13</a:t>
            </a:fld>
            <a:endParaRPr lang="fr-FR"/>
          </a:p>
        </p:txBody>
      </p:sp>
      <p:sp>
        <p:nvSpPr>
          <p:cNvPr id="140" name="Espace réservé du pied de page 3">
            <a:extLst>
              <a:ext uri="{FF2B5EF4-FFF2-40B4-BE49-F238E27FC236}">
                <a16:creationId xmlns:a16="http://schemas.microsoft.com/office/drawing/2014/main" id="{EB049E03-2F19-4AB1-2473-D9E4CDA72D8A}"/>
              </a:ext>
            </a:extLst>
          </p:cNvPr>
          <p:cNvSpPr txBox="1">
            <a:spLocks/>
          </p:cNvSpPr>
          <p:nvPr/>
        </p:nvSpPr>
        <p:spPr>
          <a:xfrm>
            <a:off x="1442301" y="6179795"/>
            <a:ext cx="8327174" cy="400050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fr-FR"/>
            </a:defPPr>
            <a:lvl1pPr>
              <a:defRPr lang="fr-FR" sz="1000" i="0" smtClean="0">
                <a:solidFill>
                  <a:schemeClr val="bg2">
                    <a:lumMod val="75000"/>
                  </a:schemeClr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DEEE : Déchets d'équipements électriques et électroniques</a:t>
            </a:r>
          </a:p>
        </p:txBody>
      </p:sp>
      <p:graphicFrame>
        <p:nvGraphicFramePr>
          <p:cNvPr id="23" name="Chart 3">
            <a:extLst>
              <a:ext uri="{FF2B5EF4-FFF2-40B4-BE49-F238E27FC236}">
                <a16:creationId xmlns:a16="http://schemas.microsoft.com/office/drawing/2014/main" id="{D83711D7-4C04-2434-220A-31720DE47D1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390364"/>
              </p:ext>
            </p:extLst>
          </p:nvPr>
        </p:nvGraphicFramePr>
        <p:xfrm>
          <a:off x="4543425" y="1644650"/>
          <a:ext cx="3100388" cy="3713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49" name="Espace réservé du texte 4">
            <a:extLst>
              <a:ext uri="{FF2B5EF4-FFF2-40B4-BE49-F238E27FC236}">
                <a16:creationId xmlns:a16="http://schemas.microsoft.com/office/drawing/2014/main" id="{8DAA74CD-DBB7-BD6D-BB4C-8F718A2AECB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686550" y="2560638"/>
            <a:ext cx="303213" cy="1920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7EF892AB-E35C-4855-8BC8-0A1B5D9992A3}" type="datetime'2''''''''''''''''''''''''''%'''''''''''''''''''''''''">
              <a:rPr lang="fr-FR" altLang="en-US" smtClean="0">
                <a:solidFill>
                  <a:schemeClr val="bg1"/>
                </a:solidFill>
                <a:effectLst/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2%</a:t>
            </a:fld>
            <a:endParaRPr lang="fr-FR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E6AFA30-BFA8-7386-0241-4BD0FF61D7D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754813" y="2368550"/>
            <a:ext cx="277813" cy="19208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C4BCA0-61E7-410D-A2F9-3D160EDE814D}" type="datetime'''''''''''''''''''''''''''''''''''''1''''%'''">
              <a:rPr lang="fr-F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fr-FR" sz="140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9FB3726-3504-623F-34F0-679967F94E5F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405438" y="5251450"/>
            <a:ext cx="214313" cy="160338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2A436FE8-959B-8F3C-ABA2-720AC111101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729038" y="5251450"/>
            <a:ext cx="214313" cy="160338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0C2EEC2-C5DB-7F0E-0EDF-09673133BC61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5405438" y="5699125"/>
            <a:ext cx="214313" cy="160338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7EC8B5D1-96BD-3BAB-64CA-6260A875E4B8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729038" y="5475288"/>
            <a:ext cx="214313" cy="16033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353A8D37-6E4F-4063-5D2E-C7E62117EE1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5405438" y="5475288"/>
            <a:ext cx="214313" cy="160338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86483F2-9818-ABC0-A6E0-34C7817B9B31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729038" y="5699125"/>
            <a:ext cx="214313" cy="160338"/>
          </a:xfrm>
          <a:prstGeom prst="rect">
            <a:avLst/>
          </a:prstGeom>
          <a:solidFill>
            <a:srgbClr val="FFE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569CACF1-BC1C-2023-EAF5-C2825949B9EE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119938" y="5251450"/>
            <a:ext cx="214313" cy="160338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8" name="Espace réservé du texte 4">
            <a:extLst>
              <a:ext uri="{FF2B5EF4-FFF2-40B4-BE49-F238E27FC236}">
                <a16:creationId xmlns:a16="http://schemas.microsoft.com/office/drawing/2014/main" id="{CCEDAE11-F092-4F53-F137-3975F3FE19E8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5670550" y="5259388"/>
            <a:ext cx="13477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F713D835-D79C-463B-94F0-97982E168F57}" type="datetime'''D''''é''''''p''''''''lace''''m''''''en''ts'' pa''t.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Déplacements pat.</a:t>
            </a:fld>
            <a:endParaRPr lang="fr-FR" sz="1200">
              <a:latin typeface="+mn-lt"/>
            </a:endParaRPr>
          </a:p>
        </p:txBody>
      </p:sp>
      <p:sp>
        <p:nvSpPr>
          <p:cNvPr id="60" name="Espace réservé du texte 4">
            <a:extLst>
              <a:ext uri="{FF2B5EF4-FFF2-40B4-BE49-F238E27FC236}">
                <a16:creationId xmlns:a16="http://schemas.microsoft.com/office/drawing/2014/main" id="{4A975885-DDC0-C378-0E4B-BB8D85BB0C89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5670550" y="5483225"/>
            <a:ext cx="12271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5973219D-DBCA-446D-92C2-91BD37307ED8}" type="datetime'''E''n''e''''''rg''ie ''d''es'''''' ''s''''''''i''''t''e''s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Energie des sites</a:t>
            </a:fld>
            <a:endParaRPr lang="fr-FR" sz="1200">
              <a:latin typeface="+mn-lt"/>
            </a:endParaRPr>
          </a:p>
        </p:txBody>
      </p:sp>
      <p:sp>
        <p:nvSpPr>
          <p:cNvPr id="63" name="Espace réservé du texte 4">
            <a:extLst>
              <a:ext uri="{FF2B5EF4-FFF2-40B4-BE49-F238E27FC236}">
                <a16:creationId xmlns:a16="http://schemas.microsoft.com/office/drawing/2014/main" id="{8C68B9CD-19FC-829D-AC9D-829C4D750A44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3994150" y="5707063"/>
            <a:ext cx="13096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CEAB2357-D4CD-4689-95F0-05BCA21123EE}" type="datetime'''''Dé''''p''la''''cem''''''e''nt''s ''''''p''ro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Déplacements pro</a:t>
            </a:fld>
            <a:endParaRPr lang="fr-FR" sz="1200">
              <a:latin typeface="+mn-lt"/>
            </a:endParaRPr>
          </a:p>
        </p:txBody>
      </p:sp>
      <p:sp>
        <p:nvSpPr>
          <p:cNvPr id="62" name="Espace réservé du texte 4">
            <a:extLst>
              <a:ext uri="{FF2B5EF4-FFF2-40B4-BE49-F238E27FC236}">
                <a16:creationId xmlns:a16="http://schemas.microsoft.com/office/drawing/2014/main" id="{06B99181-AB51-147E-A897-9F1C4E4C99DF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5670550" y="5707063"/>
            <a:ext cx="5969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95EA603F-D850-46F2-AC96-471D30CC11B0}" type="datetime'''''''D''''éc''''''''''''''''''''''''hets''''''''''''''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Déchets</a:t>
            </a:fld>
            <a:endParaRPr lang="fr-FR" sz="1200">
              <a:latin typeface="+mn-lt"/>
            </a:endParaRPr>
          </a:p>
        </p:txBody>
      </p:sp>
      <p:sp>
        <p:nvSpPr>
          <p:cNvPr id="61" name="Espace réservé du texte 4">
            <a:extLst>
              <a:ext uri="{FF2B5EF4-FFF2-40B4-BE49-F238E27FC236}">
                <a16:creationId xmlns:a16="http://schemas.microsoft.com/office/drawing/2014/main" id="{E8C00541-37AD-3C53-7E0D-E87F3700F752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3994150" y="5483225"/>
            <a:ext cx="11144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6BAE2AA2-3B63-45FE-8834-EBB672422CCF}" type="datetime'''''''Imm''o''''bi''lis''''''''a''''''''''t''''io''n''''''s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Immobilisations</a:t>
            </a:fld>
            <a:endParaRPr lang="fr-FR" sz="1200">
              <a:latin typeface="+mn-lt"/>
            </a:endParaRPr>
          </a:p>
        </p:txBody>
      </p:sp>
      <p:sp>
        <p:nvSpPr>
          <p:cNvPr id="129" name="Espace réservé du texte 4">
            <a:extLst>
              <a:ext uri="{FF2B5EF4-FFF2-40B4-BE49-F238E27FC236}">
                <a16:creationId xmlns:a16="http://schemas.microsoft.com/office/drawing/2014/main" id="{AE0F47AE-ECC2-4F0F-AB76-DBD3F38A2FBA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7385050" y="5259388"/>
            <a:ext cx="11096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146F88F7-8F1E-4118-9654-F854B0E5DC7D}" type="datetime'''''''''''''G''''a''z'' f''ri''go''r''''i''g''''''ène''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Gaz frigorigène</a:t>
            </a:fld>
            <a:endParaRPr lang="fr-FR" sz="1200">
              <a:latin typeface="+mn-lt"/>
            </a:endParaRPr>
          </a:p>
        </p:txBody>
      </p:sp>
      <p:sp>
        <p:nvSpPr>
          <p:cNvPr id="59" name="Espace réservé du texte 4">
            <a:extLst>
              <a:ext uri="{FF2B5EF4-FFF2-40B4-BE49-F238E27FC236}">
                <a16:creationId xmlns:a16="http://schemas.microsoft.com/office/drawing/2014/main" id="{E4B02154-F0BA-92EC-A027-FF647248D65E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3994150" y="5259388"/>
            <a:ext cx="498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42F425B4-0761-4100-BB03-39202AE0FD88}" type="datetime'Ac''''''h''''''''a''''''''''''''''''t''''''''''''''''''''s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Achats</a:t>
            </a:fld>
            <a:endParaRPr lang="fr-FR" sz="1200">
              <a:latin typeface="+mn-lt"/>
            </a:endParaRPr>
          </a:p>
        </p:txBody>
      </p:sp>
      <p:sp>
        <p:nvSpPr>
          <p:cNvPr id="143" name="ZoneTexte 142">
            <a:extLst>
              <a:ext uri="{FF2B5EF4-FFF2-40B4-BE49-F238E27FC236}">
                <a16:creationId xmlns:a16="http://schemas.microsoft.com/office/drawing/2014/main" id="{A42B71BD-250D-36BB-F0D2-758B3C7BF2D7}"/>
              </a:ext>
            </a:extLst>
          </p:cNvPr>
          <p:cNvSpPr txBox="1"/>
          <p:nvPr/>
        </p:nvSpPr>
        <p:spPr>
          <a:xfrm>
            <a:off x="5416414" y="3228945"/>
            <a:ext cx="1356140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b="1"/>
              <a:t>3,4 </a:t>
            </a:r>
          </a:p>
          <a:p>
            <a:pPr algn="ctr"/>
            <a:r>
              <a:rPr lang="fr-FR" sz="1400"/>
              <a:t>kgCO</a:t>
            </a:r>
            <a:r>
              <a:rPr lang="fr-FR" sz="1400" baseline="-25000"/>
              <a:t>2</a:t>
            </a:r>
            <a:r>
              <a:rPr lang="fr-FR" sz="1400"/>
              <a:t>e/séance</a:t>
            </a:r>
          </a:p>
        </p:txBody>
      </p:sp>
      <p:grpSp>
        <p:nvGrpSpPr>
          <p:cNvPr id="144" name="Groupe 143">
            <a:extLst>
              <a:ext uri="{FF2B5EF4-FFF2-40B4-BE49-F238E27FC236}">
                <a16:creationId xmlns:a16="http://schemas.microsoft.com/office/drawing/2014/main" id="{0DB44F24-875D-B48C-E26C-2238F97F9ECC}"/>
              </a:ext>
            </a:extLst>
          </p:cNvPr>
          <p:cNvGrpSpPr/>
          <p:nvPr/>
        </p:nvGrpSpPr>
        <p:grpSpPr>
          <a:xfrm>
            <a:off x="9356617" y="5636338"/>
            <a:ext cx="4049609" cy="452095"/>
            <a:chOff x="7926732" y="-1314173"/>
            <a:chExt cx="4049609" cy="452095"/>
          </a:xfrm>
        </p:grpSpPr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5E6F34E5-F7DB-6520-B74C-69FABDA53E56}"/>
                </a:ext>
              </a:extLst>
            </p:cNvPr>
            <p:cNvSpPr/>
            <p:nvPr/>
          </p:nvSpPr>
          <p:spPr>
            <a:xfrm>
              <a:off x="7966678" y="-1279482"/>
              <a:ext cx="566378" cy="21486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1000"/>
                </a:spcBef>
                <a:buClr>
                  <a:srgbClr val="FF554B"/>
                </a:buClr>
                <a:buSzPct val="100000"/>
                <a:tabLst>
                  <a:tab pos="431800" algn="l"/>
                </a:tabLst>
              </a:pPr>
              <a:endParaRPr lang="fr-FR" sz="1200" b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146" name="Image 145">
              <a:extLst>
                <a:ext uri="{FF2B5EF4-FFF2-40B4-BE49-F238E27FC236}">
                  <a16:creationId xmlns:a16="http://schemas.microsoft.com/office/drawing/2014/main" id="{60D00A42-60FC-2FD8-353B-FD5DC54876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4"/>
            <a:srcRect b="16707"/>
            <a:stretch/>
          </p:blipFill>
          <p:spPr>
            <a:xfrm>
              <a:off x="7926732" y="-1194019"/>
              <a:ext cx="398521" cy="331941"/>
            </a:xfrm>
            <a:prstGeom prst="rect">
              <a:avLst/>
            </a:prstGeom>
          </p:spPr>
        </p:pic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5E16F3B9-BBD8-3818-5338-AF9189963322}"/>
                </a:ext>
              </a:extLst>
            </p:cNvPr>
            <p:cNvSpPr/>
            <p:nvPr/>
          </p:nvSpPr>
          <p:spPr>
            <a:xfrm>
              <a:off x="8529908" y="-1314173"/>
              <a:ext cx="3446433" cy="274809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554B"/>
                </a:buClr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Arial" pitchFamily="-105" charset="-52"/>
                  <a:cs typeface="Century Gothic"/>
                </a:rPr>
                <a:t>Zoom dans les pages suivant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097625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think-cell data - do not delete" hidden="1">
            <a:extLst>
              <a:ext uri="{FF2B5EF4-FFF2-40B4-BE49-F238E27FC236}">
                <a16:creationId xmlns:a16="http://schemas.microsoft.com/office/drawing/2014/main" id="{AF13B2AB-6F31-6CED-C727-E5967B88B7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83528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2" imgW="7772400" imgH="10058400" progId="TCLayout.ActiveDocument.1">
                  <p:embed/>
                </p:oleObj>
              </mc:Choice>
              <mc:Fallback>
                <p:oleObj name="Diapositive think-cell" r:id="rId42" imgW="7772400" imgH="10058400" progId="TCLayout.ActiveDocument.1">
                  <p:embed/>
                  <p:pic>
                    <p:nvPicPr>
                      <p:cNvPr id="4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13B2AB-6F31-6CED-C727-E5967B88B7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9" name="Rectangle : coins arrondis 208">
            <a:extLst>
              <a:ext uri="{FF2B5EF4-FFF2-40B4-BE49-F238E27FC236}">
                <a16:creationId xmlns:a16="http://schemas.microsoft.com/office/drawing/2014/main" id="{A4D787A1-17EE-67B6-2243-E6941A8E2DC4}"/>
              </a:ext>
            </a:extLst>
          </p:cNvPr>
          <p:cNvSpPr/>
          <p:nvPr/>
        </p:nvSpPr>
        <p:spPr>
          <a:xfrm>
            <a:off x="8505733" y="1576712"/>
            <a:ext cx="3211470" cy="3843013"/>
          </a:xfrm>
          <a:prstGeom prst="roundRect">
            <a:avLst>
              <a:gd name="adj" fmla="val 369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tabLst>
                <a:tab pos="431800" algn="l"/>
              </a:tabLst>
            </a:pPr>
            <a:r>
              <a:rPr lang="fr-FR" b="1">
                <a:solidFill>
                  <a:schemeClr val="tx2"/>
                </a:solidFill>
              </a:rPr>
              <a:t>Répartition des distances parcourues </a:t>
            </a:r>
            <a:r>
              <a:rPr lang="fr-FR" sz="1400">
                <a:solidFill>
                  <a:schemeClr val="tx2"/>
                </a:solidFill>
              </a:rPr>
              <a:t>(%, km/séance)</a:t>
            </a:r>
          </a:p>
        </p:txBody>
      </p:sp>
      <p:graphicFrame>
        <p:nvGraphicFramePr>
          <p:cNvPr id="205" name="Chart 3">
            <a:extLst>
              <a:ext uri="{FF2B5EF4-FFF2-40B4-BE49-F238E27FC236}">
                <a16:creationId xmlns:a16="http://schemas.microsoft.com/office/drawing/2014/main" id="{AD703DCE-9D0C-A2F7-E2C1-CBC1EEB29F4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420882"/>
              </p:ext>
            </p:extLst>
          </p:nvPr>
        </p:nvGraphicFramePr>
        <p:xfrm>
          <a:off x="5248275" y="2420938"/>
          <a:ext cx="2744788" cy="319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>
        <p:nvSpPr>
          <p:cNvPr id="126" name="Espace réservé du texte 2">
            <a:extLst>
              <a:ext uri="{FF2B5EF4-FFF2-40B4-BE49-F238E27FC236}">
                <a16:creationId xmlns:a16="http://schemas.microsoft.com/office/drawing/2014/main" id="{0247B5F2-4354-7C25-7EB9-D56F2BA2A5B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421438" y="3082925"/>
            <a:ext cx="277813" cy="1920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52FCF2-7485-44A9-8AF2-4831658B30F9}" type="datetime'''''1''''''''''''''''''''''%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120" name="Espace réservé du texte 4">
            <a:extLst>
              <a:ext uri="{FF2B5EF4-FFF2-40B4-BE49-F238E27FC236}">
                <a16:creationId xmlns:a16="http://schemas.microsoft.com/office/drawing/2014/main" id="{21FD913B-D1C2-B315-E34D-2116582E65C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470650" y="3275013"/>
            <a:ext cx="277813" cy="19208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210DC028-D579-4311-BD66-27203A5E1B3E}" type="datetime'''''''''''''''''''''1%'''">
              <a:rPr lang="fr-FR" altLang="en-US" smtClean="0">
                <a:effectLst/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1%</a:t>
            </a:fld>
            <a:endParaRPr lang="fr-FR">
              <a:latin typeface="+mn-lt"/>
            </a:endParaRP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D1B2AB4-D325-9C10-6A5E-44DCB5B685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B5A6716-DBF2-AF4C-9665-1BA53E8D7A19}" type="slidenum">
              <a:rPr lang="fr-FR" smtClean="0"/>
              <a:pPr/>
              <a:t>14</a:t>
            </a:fld>
            <a:endParaRPr lang="fr-FR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395B6041-1914-3261-BC9C-351650546FB4}"/>
              </a:ext>
            </a:extLst>
          </p:cNvPr>
          <p:cNvSpPr txBox="1">
            <a:spLocks/>
          </p:cNvSpPr>
          <p:nvPr/>
        </p:nvSpPr>
        <p:spPr>
          <a:xfrm>
            <a:off x="536574" y="314960"/>
            <a:ext cx="11115675" cy="8964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500">
                <a:solidFill>
                  <a:schemeClr val="accent1">
                    <a:lumMod val="40000"/>
                    <a:lumOff val="60000"/>
                  </a:schemeClr>
                </a:solidFill>
              </a:rPr>
              <a:t>Zoom sur les déplacements patientèle | </a:t>
            </a:r>
            <a:r>
              <a:rPr lang="fr-FR" sz="2500"/>
              <a:t>La voiture thermique domine aussi les déplacements de la patientèle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A9CF14E-9062-06D9-B4A5-4BCC88AB3F50}"/>
              </a:ext>
            </a:extLst>
          </p:cNvPr>
          <p:cNvSpPr txBox="1">
            <a:spLocks/>
          </p:cNvSpPr>
          <p:nvPr/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5A6716-DBF2-AF4C-9665-1BA53E8D7A19}" type="slidenum">
              <a:rPr lang="fr-FR" smtClean="0"/>
              <a:pPr/>
              <a:t>14</a:t>
            </a:fld>
            <a:endParaRPr lang="fr-FR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9AC7CE3A-BB57-29B6-D7CC-BCD7DC6F5E8B}"/>
              </a:ext>
            </a:extLst>
          </p:cNvPr>
          <p:cNvSpPr/>
          <p:nvPr/>
        </p:nvSpPr>
        <p:spPr>
          <a:xfrm>
            <a:off x="474799" y="1576713"/>
            <a:ext cx="3588243" cy="4593177"/>
          </a:xfrm>
          <a:prstGeom prst="roundRect">
            <a:avLst>
              <a:gd name="adj" fmla="val 369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tabLst>
                <a:tab pos="431800" algn="l"/>
              </a:tabLst>
            </a:pPr>
            <a:r>
              <a:rPr lang="fr-FR" b="1">
                <a:solidFill>
                  <a:schemeClr val="tx2"/>
                </a:solidFill>
              </a:rPr>
              <a:t>Empreinte carbone d’une séance au cabinet                      </a:t>
            </a:r>
            <a:r>
              <a:rPr lang="fr-FR" sz="1400">
                <a:solidFill>
                  <a:schemeClr val="tx2"/>
                </a:solidFill>
              </a:rPr>
              <a:t>(% du total)</a:t>
            </a:r>
          </a:p>
        </p:txBody>
      </p:sp>
      <p:graphicFrame>
        <p:nvGraphicFramePr>
          <p:cNvPr id="28" name="Chart 3">
            <a:extLst>
              <a:ext uri="{FF2B5EF4-FFF2-40B4-BE49-F238E27FC236}">
                <a16:creationId xmlns:a16="http://schemas.microsoft.com/office/drawing/2014/main" id="{6D352F48-D1DE-AD9A-8F72-C17608CE7666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179973394"/>
              </p:ext>
            </p:extLst>
          </p:nvPr>
        </p:nvGraphicFramePr>
        <p:xfrm>
          <a:off x="815975" y="2085975"/>
          <a:ext cx="2768600" cy="3287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65372846-6112-9CA7-7E56-6BA24741999E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2646363" y="2843214"/>
            <a:ext cx="442913" cy="4413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02B3FD3E-BAB9-CCCF-E2E2-87BE68EEF70E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V="1">
            <a:off x="2643188" y="2836863"/>
            <a:ext cx="441325" cy="4460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9" name="Espace réservé du texte 4">
            <a:extLst>
              <a:ext uri="{FF2B5EF4-FFF2-40B4-BE49-F238E27FC236}">
                <a16:creationId xmlns:a16="http://schemas.microsoft.com/office/drawing/2014/main" id="{0A341705-168D-A567-3F7C-C6B10F97E0F8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2728913" y="2770188"/>
            <a:ext cx="2778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4A0E393C-5F08-42D2-B308-1EC4EEA3B422}" type="datetime'''''''''''1''''''''%'''''''''''''''''''''''''">
              <a:rPr lang="fr-FR" altLang="en-US" smtClean="0">
                <a:effectLst/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1%</a:t>
            </a:fld>
            <a:endParaRPr lang="fr-FR">
              <a:latin typeface="+mn-lt"/>
            </a:endParaRPr>
          </a:p>
        </p:txBody>
      </p:sp>
      <p:sp useBgFill="1">
        <p:nvSpPr>
          <p:cNvPr id="10" name="Espace réservé du texte 4">
            <a:extLst>
              <a:ext uri="{FF2B5EF4-FFF2-40B4-BE49-F238E27FC236}">
                <a16:creationId xmlns:a16="http://schemas.microsoft.com/office/drawing/2014/main" id="{3F8B1462-89A0-73E8-049D-EA8C13112E1C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2641600" y="2962275"/>
            <a:ext cx="3032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95775706-7902-41E7-9006-3220E1396FD2}" type="datetime'''''''''''''''2''''''''''''%'''''''''''''''''''''">
              <a:rPr lang="fr-FR" altLang="en-US" smtClean="0">
                <a:effectLst/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2%</a:t>
            </a:fld>
            <a:endParaRPr lang="fr-FR"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1285666-5996-D213-F3FB-ABB34247D7FA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571500" y="5953125"/>
            <a:ext cx="214313" cy="160338"/>
          </a:xfrm>
          <a:prstGeom prst="rect">
            <a:avLst/>
          </a:prstGeom>
          <a:solidFill>
            <a:schemeClr val="accent6"/>
          </a:solidFill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855DAD1-D187-71C6-CA1D-AC44290E8DB3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571500" y="5281613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53A4116-93F2-43F8-25D6-BBC8A6CD6781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2286000" y="5505450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6A989BF-9330-02A8-02BE-919D4AF80466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71500" y="5505450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8B05984-E9CA-D48A-0C20-865CDB5F4C83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2286000" y="5281613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1919BD-4301-7CD7-86AA-94A4A877FC72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571500" y="5729288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EDB9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4D6DE41-BD4F-FB78-6139-B1C8CE8ABD6F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2286000" y="5729288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1DCC35E7-0627-8509-47B0-20DACF1849AF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836613" y="5961063"/>
            <a:ext cx="13477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DAEB7DF5-0C2F-43E7-A966-74B9B0137226}" type="datetime'''Dé''''''''p''l''''acem''''''''e''''''nt''''''''s pat.''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Déplacements pat.</a:t>
            </a:fld>
            <a:endParaRPr lang="fr-FR" sz="1200">
              <a:latin typeface="+mn-lt"/>
            </a:endParaRP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59EC3DE4-A02D-C3BE-2A8C-1907438EDE11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2551113" y="5289550"/>
            <a:ext cx="12271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7586FD1F-6A4C-4BEC-97DA-A9D6D1E3D2B4}" type="datetime'En''e''''r''g''''i''''''''''''''''''e de''''s'''' sit''''e''s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Energie des sites</a:t>
            </a:fld>
            <a:endParaRPr lang="fr-FR" sz="1200">
              <a:latin typeface="+mn-lt"/>
            </a:endParaRP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83B9A70E-E113-E27A-5989-F22D6ADA6051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836613" y="5737225"/>
            <a:ext cx="13096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2C30CEAC-F98A-4EBB-B35F-F04E08DE2C0E}" type="datetime'Dépla''''''''ce''''''m''en''''ts ''p''''''''''r''o''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Déplacements pro</a:t>
            </a:fld>
            <a:endParaRPr lang="fr-FR" sz="1200">
              <a:latin typeface="+mn-lt"/>
            </a:endParaRP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D409BC9B-0B9F-4E23-07E5-9770D73C40E0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2551113" y="5513388"/>
            <a:ext cx="5969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2CA02326-BB23-41B5-BD98-17FFBD5A703F}" type="datetime'Dé''''''''''c''''''h''''''''''''et''''''''''''''''''''s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Déchets</a:t>
            </a:fld>
            <a:endParaRPr lang="fr-FR" sz="1200">
              <a:latin typeface="+mn-lt"/>
            </a:endParaRP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4D721F4E-9548-0A7E-15A5-C81EA45C2307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836613" y="5513388"/>
            <a:ext cx="11144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235EF2A9-28FC-4176-8ABB-CC35569F94C3}" type="datetime'I''''''''''mm''''o''''bil''''i''sat''i''o''''n''''''s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Immobilisations</a:t>
            </a:fld>
            <a:endParaRPr lang="fr-FR" sz="1200">
              <a:latin typeface="+mn-lt"/>
            </a:endParaRP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A8250C98-5BCE-7AC4-1AF6-F215494DC9E3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2551113" y="5737225"/>
            <a:ext cx="11096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7A85BC9E-8574-4663-A486-1AD984D983E0}" type="datetime'''''''''Gaz'''''''' fr''''ig''''o''ri''''''''''''''g''è''ne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Gaz frigorigène</a:t>
            </a:fld>
            <a:endParaRPr lang="fr-FR" sz="1200">
              <a:latin typeface="+mn-lt"/>
            </a:endParaRP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0AFFAE37-3268-0529-E793-4A51B9FBA52C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836613" y="5289550"/>
            <a:ext cx="498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2B077FCB-D8B9-4AB2-A183-1FE9FB44CB6B}" type="datetime'''''A''''ch''''''''''a''t''''''''''''''''''s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Achats</a:t>
            </a:fld>
            <a:endParaRPr lang="fr-FR" sz="1200">
              <a:latin typeface="+mn-lt"/>
            </a:endParaRPr>
          </a:p>
        </p:txBody>
      </p:sp>
      <p:pic>
        <p:nvPicPr>
          <p:cNvPr id="25" name="Graphique 24" descr="Ligne fléchée : incurvée sens des aiguilles d’une montre avec un remplissage uni">
            <a:extLst>
              <a:ext uri="{FF2B5EF4-FFF2-40B4-BE49-F238E27FC236}">
                <a16:creationId xmlns:a16="http://schemas.microsoft.com/office/drawing/2014/main" id="{27B85A82-5272-79DE-0A5F-EA982E81BAB0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 rot="6518642">
            <a:off x="3557761" y="1864390"/>
            <a:ext cx="763922" cy="1422181"/>
          </a:xfrm>
          <a:prstGeom prst="rect">
            <a:avLst/>
          </a:prstGeom>
        </p:spPr>
      </p:pic>
      <p:pic>
        <p:nvPicPr>
          <p:cNvPr id="26" name="Picture 3" descr="loupe icon">
            <a:extLst>
              <a:ext uri="{FF2B5EF4-FFF2-40B4-BE49-F238E27FC236}">
                <a16:creationId xmlns:a16="http://schemas.microsoft.com/office/drawing/2014/main" id="{B8CAD874-FE10-36BD-554F-4C47005F16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8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8521" y="2587341"/>
            <a:ext cx="632957" cy="632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Arc plein 26">
            <a:extLst>
              <a:ext uri="{FF2B5EF4-FFF2-40B4-BE49-F238E27FC236}">
                <a16:creationId xmlns:a16="http://schemas.microsoft.com/office/drawing/2014/main" id="{A7FB355B-9684-B99D-AD9F-6BE473ADF3C8}"/>
              </a:ext>
            </a:extLst>
          </p:cNvPr>
          <p:cNvSpPr/>
          <p:nvPr/>
        </p:nvSpPr>
        <p:spPr>
          <a:xfrm rot="18273679">
            <a:off x="879433" y="2349380"/>
            <a:ext cx="2755716" cy="2781290"/>
          </a:xfrm>
          <a:prstGeom prst="blockArc">
            <a:avLst>
              <a:gd name="adj1" fmla="val 10101050"/>
              <a:gd name="adj2" fmla="val 19565593"/>
              <a:gd name="adj3" fmla="val 28830"/>
            </a:avLst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</a:pPr>
            <a:endParaRPr lang="fr-FR" sz="140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216" name="Chart 3">
            <a:extLst>
              <a:ext uri="{FF2B5EF4-FFF2-40B4-BE49-F238E27FC236}">
                <a16:creationId xmlns:a16="http://schemas.microsoft.com/office/drawing/2014/main" id="{4D81B37F-8EBF-BB34-62E8-558638D7E42F}"/>
              </a:ext>
            </a:extLst>
          </p:cNvPr>
          <p:cNvGraphicFramePr/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868669973"/>
              </p:ext>
            </p:extLst>
          </p:nvPr>
        </p:nvGraphicFramePr>
        <p:xfrm>
          <a:off x="8894763" y="2420938"/>
          <a:ext cx="2586037" cy="319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184" name="Espace réservé du texte 2">
            <a:extLst>
              <a:ext uri="{FF2B5EF4-FFF2-40B4-BE49-F238E27FC236}">
                <a16:creationId xmlns:a16="http://schemas.microsoft.com/office/drawing/2014/main" id="{656101A2-AB97-2F67-166D-568E966971FB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9817100" y="2873375"/>
            <a:ext cx="307975" cy="19208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D4D5FF-85C1-47B5-BC9A-75FD820A43CE}" type="datetime'''''''''''''''''''''''''''''''''''''''''''''3''%'''">
              <a:rPr lang="fr-F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fr-FR" sz="1400"/>
          </a:p>
        </p:txBody>
      </p:sp>
      <p:sp>
        <p:nvSpPr>
          <p:cNvPr id="192" name="Espace réservé du texte 2">
            <a:extLst>
              <a:ext uri="{FF2B5EF4-FFF2-40B4-BE49-F238E27FC236}">
                <a16:creationId xmlns:a16="http://schemas.microsoft.com/office/drawing/2014/main" id="{E9563E4A-A3E3-26E0-FBB0-A21FDE2DC4F2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9977438" y="3065463"/>
            <a:ext cx="303213" cy="1920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7C3865-E893-464F-92FF-CAA0D51D5716}" type="datetime'''''''''''''''''2''''''%'''''''">
              <a:rPr lang="fr-F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fr-FR" sz="1400"/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55B599D6-496F-383A-0352-3B80721CF83E}"/>
              </a:ext>
            </a:extLst>
          </p:cNvPr>
          <p:cNvSpPr txBox="1"/>
          <p:nvPr/>
        </p:nvSpPr>
        <p:spPr>
          <a:xfrm>
            <a:off x="6019658" y="3766981"/>
            <a:ext cx="1163780" cy="40011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1400" b="1"/>
              <a:t>1,5 </a:t>
            </a:r>
          </a:p>
          <a:p>
            <a:pPr algn="ctr"/>
            <a:r>
              <a:rPr lang="fr-FR" sz="1200"/>
              <a:t>kgCO</a:t>
            </a:r>
            <a:r>
              <a:rPr lang="fr-FR" sz="1200" baseline="-25000"/>
              <a:t>2</a:t>
            </a:r>
            <a:r>
              <a:rPr lang="fr-FR" sz="1200"/>
              <a:t>e/séance</a:t>
            </a:r>
          </a:p>
        </p:txBody>
      </p:sp>
      <p:sp>
        <p:nvSpPr>
          <p:cNvPr id="38" name="Rectangle : coins arrondis 37">
            <a:extLst>
              <a:ext uri="{FF2B5EF4-FFF2-40B4-BE49-F238E27FC236}">
                <a16:creationId xmlns:a16="http://schemas.microsoft.com/office/drawing/2014/main" id="{8F3AD547-8E82-0127-E83F-CCD5520E9FA6}"/>
              </a:ext>
            </a:extLst>
          </p:cNvPr>
          <p:cNvSpPr/>
          <p:nvPr/>
        </p:nvSpPr>
        <p:spPr>
          <a:xfrm>
            <a:off x="4932548" y="1576713"/>
            <a:ext cx="3262012" cy="721644"/>
          </a:xfrm>
          <a:prstGeom prst="roundRect">
            <a:avLst>
              <a:gd name="adj" fmla="val 25207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tabLst>
                <a:tab pos="431800" algn="l"/>
              </a:tabLst>
            </a:pPr>
            <a:r>
              <a:rPr lang="fr-FR" b="1">
                <a:solidFill>
                  <a:schemeClr val="accent6"/>
                </a:solidFill>
              </a:rPr>
              <a:t>Déplacements de la patientèle</a:t>
            </a:r>
            <a:r>
              <a:rPr lang="fr-FR" sz="1400" b="1">
                <a:solidFill>
                  <a:schemeClr val="accent6"/>
                </a:solidFill>
              </a:rPr>
              <a:t> </a:t>
            </a:r>
            <a:r>
              <a:rPr lang="fr-FR" sz="1400">
                <a:solidFill>
                  <a:schemeClr val="accent6"/>
                </a:solidFill>
              </a:rPr>
              <a:t>(%, kgCO2e/séance)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DADFB658-B518-2BA8-DF72-100B20DD203C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6516688" y="590073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5624A879-FC6B-102B-EA19-428230BB0E70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4519613" y="5646738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97DA1231-8A93-F802-771B-A044FD94CA40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8863013" y="5900738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DFA247EC-5693-D4F7-9F8F-3B2776193611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4519613" y="5900738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EE9A6C3F-7543-E710-3CDF-CD9453522C05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8863013" y="564673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A22CB69-5DE6-2CA4-DEF2-68DF882B50C0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6516688" y="5646738"/>
            <a:ext cx="250825" cy="187325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B903DC58-8821-F960-5CD0-3A1FE0B202A0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10748963" y="564673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6" name="Espace réservé du texte 2">
            <a:extLst>
              <a:ext uri="{FF2B5EF4-FFF2-40B4-BE49-F238E27FC236}">
                <a16:creationId xmlns:a16="http://schemas.microsoft.com/office/drawing/2014/main" id="{60A1011C-3931-0473-C1D5-D97E2DC7A450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6818313" y="5911850"/>
            <a:ext cx="1943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B7325FC-649B-4716-A03C-453DD939C227}" type="datetime'''T''''r''ans''''''po''r''t''''s'' en ''c''''omm''''''un'''">
              <a:rPr lang="fr-F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ransports en commun</a:t>
            </a:fld>
            <a:endParaRPr lang="fr-FR" sz="1400"/>
          </a:p>
        </p:txBody>
      </p:sp>
      <p:sp>
        <p:nvSpPr>
          <p:cNvPr id="144" name="Espace réservé du texte 2">
            <a:extLst>
              <a:ext uri="{FF2B5EF4-FFF2-40B4-BE49-F238E27FC236}">
                <a16:creationId xmlns:a16="http://schemas.microsoft.com/office/drawing/2014/main" id="{9603787A-9113-9ABB-C127-E0FA012A60FC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9164638" y="5657850"/>
            <a:ext cx="950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A5BB5C4-75EB-4893-9E6B-4388FA135183}" type="datetime'D''e''''u''''''''''''x'''''''''''''''''''' r''o''''''ues'">
              <a:rPr lang="fr-F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eux roues</a:t>
            </a:fld>
            <a:endParaRPr lang="fr-FR" sz="1400"/>
          </a:p>
        </p:txBody>
      </p:sp>
      <p:sp>
        <p:nvSpPr>
          <p:cNvPr id="145" name="Espace réservé du texte 2">
            <a:extLst>
              <a:ext uri="{FF2B5EF4-FFF2-40B4-BE49-F238E27FC236}">
                <a16:creationId xmlns:a16="http://schemas.microsoft.com/office/drawing/2014/main" id="{AD5F648F-3832-2A15-166D-9D7B00CCBBCD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6818313" y="5657850"/>
            <a:ext cx="3349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EA42A7E-76E3-418F-A5E5-7DAB3DB04E2C}" type="datetime'''T''''''''''''''''''''''E''''R'''''''''''">
              <a:rPr lang="fr-F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ER</a:t>
            </a:fld>
            <a:endParaRPr lang="fr-FR" sz="1400"/>
          </a:p>
        </p:txBody>
      </p:sp>
      <p:sp>
        <p:nvSpPr>
          <p:cNvPr id="143" name="Espace réservé du texte 2">
            <a:extLst>
              <a:ext uri="{FF2B5EF4-FFF2-40B4-BE49-F238E27FC236}">
                <a16:creationId xmlns:a16="http://schemas.microsoft.com/office/drawing/2014/main" id="{0CBF8034-AFFB-243B-263A-19D17C8D0172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9164638" y="5911850"/>
            <a:ext cx="1482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20D74EA-30C3-4F67-AB1A-C42EEFB07529}" type="datetime'''Vo''''i''''''''''''''ture é''''''''l''''ectr''i''qu''''e'">
              <a:rPr lang="fr-F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oiture électrique</a:t>
            </a:fld>
            <a:endParaRPr lang="fr-FR" sz="1400"/>
          </a:p>
        </p:txBody>
      </p:sp>
      <p:sp>
        <p:nvSpPr>
          <p:cNvPr id="140" name="Espace réservé du texte 2">
            <a:extLst>
              <a:ext uri="{FF2B5EF4-FFF2-40B4-BE49-F238E27FC236}">
                <a16:creationId xmlns:a16="http://schemas.microsoft.com/office/drawing/2014/main" id="{B260EEAA-D09B-CF37-0EAB-206BC190174A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4821238" y="5911850"/>
            <a:ext cx="15938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188765F-ACFD-4863-9213-B54D564D4E5E}" type="datetime'''T''r''a''i''''n ''''''''G''''r''''a''n''''d''e'' L''i''gne'">
              <a:rPr lang="fr-F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rain Grande Ligne</a:t>
            </a:fld>
            <a:endParaRPr lang="fr-FR" sz="1400"/>
          </a:p>
        </p:txBody>
      </p:sp>
      <p:sp>
        <p:nvSpPr>
          <p:cNvPr id="147" name="Espace réservé du texte 2">
            <a:extLst>
              <a:ext uri="{FF2B5EF4-FFF2-40B4-BE49-F238E27FC236}">
                <a16:creationId xmlns:a16="http://schemas.microsoft.com/office/drawing/2014/main" id="{C716C156-80DE-0BF8-B794-A1DB31FE3444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11050588" y="5657850"/>
            <a:ext cx="5953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5F5D157-74EB-4F0F-8D16-2D3F0139C865}" type="datetime'V''''o''''''''''i''''t''''''''''''''u''''''''''''''''''''r''e'">
              <a:rPr lang="fr-F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oiture</a:t>
            </a:fld>
            <a:endParaRPr lang="fr-FR" sz="1400"/>
          </a:p>
        </p:txBody>
      </p:sp>
      <p:sp>
        <p:nvSpPr>
          <p:cNvPr id="142" name="Espace réservé du texte 2">
            <a:extLst>
              <a:ext uri="{FF2B5EF4-FFF2-40B4-BE49-F238E27FC236}">
                <a16:creationId xmlns:a16="http://schemas.microsoft.com/office/drawing/2014/main" id="{4217C1AC-13B7-7F53-F1ED-34156E81C394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4821238" y="5657850"/>
            <a:ext cx="12525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5F9060E-8284-48FB-B9D6-E787E6E07EDD}" type="datetime'Vé''''''''lo'''''''''''' é''l''''e''''c''''''''''triq''ue'''">
              <a:rPr lang="fr-F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élo électrique</a:t>
            </a:fld>
            <a:endParaRPr lang="fr-FR" sz="1400"/>
          </a:p>
        </p:txBody>
      </p:sp>
      <p:sp>
        <p:nvSpPr>
          <p:cNvPr id="208" name="ZoneTexte 207">
            <a:extLst>
              <a:ext uri="{FF2B5EF4-FFF2-40B4-BE49-F238E27FC236}">
                <a16:creationId xmlns:a16="http://schemas.microsoft.com/office/drawing/2014/main" id="{E8F1153E-E28E-2F2F-C73B-51DD102F548A}"/>
              </a:ext>
            </a:extLst>
          </p:cNvPr>
          <p:cNvSpPr txBox="1"/>
          <p:nvPr/>
        </p:nvSpPr>
        <p:spPr>
          <a:xfrm>
            <a:off x="9783171" y="3763140"/>
            <a:ext cx="793487" cy="40011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1400" b="1"/>
              <a:t>9,4 </a:t>
            </a:r>
          </a:p>
          <a:p>
            <a:pPr algn="ctr"/>
            <a:r>
              <a:rPr lang="fr-FR" sz="1200"/>
              <a:t>km/séance</a:t>
            </a:r>
          </a:p>
        </p:txBody>
      </p:sp>
    </p:spTree>
    <p:extLst>
      <p:ext uri="{BB962C8B-B14F-4D97-AF65-F5344CB8AC3E}">
        <p14:creationId xmlns:p14="http://schemas.microsoft.com/office/powerpoint/2010/main" val="22612997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6814D6-6A9C-E023-380E-F8B59ADD8D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think-cell data - do not delete" hidden="1">
            <a:extLst>
              <a:ext uri="{FF2B5EF4-FFF2-40B4-BE49-F238E27FC236}">
                <a16:creationId xmlns:a16="http://schemas.microsoft.com/office/drawing/2014/main" id="{39F175A8-4E1E-5DAF-6C9A-022BBB8190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614421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76" imgW="7772400" imgH="10058400" progId="TCLayout.ActiveDocument.1">
                  <p:embed/>
                </p:oleObj>
              </mc:Choice>
              <mc:Fallback>
                <p:oleObj name="Diapositive think-cell" r:id="rId76" imgW="7772400" imgH="10058400" progId="TCLayout.ActiveDocument.1">
                  <p:embed/>
                  <p:pic>
                    <p:nvPicPr>
                      <p:cNvPr id="4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F175A8-4E1E-5DAF-6C9A-022BBB8190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25" name="Chart 3">
            <a:extLst>
              <a:ext uri="{FF2B5EF4-FFF2-40B4-BE49-F238E27FC236}">
                <a16:creationId xmlns:a16="http://schemas.microsoft.com/office/drawing/2014/main" id="{92E03B05-333D-64DA-E6E0-3FDE573ECA8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4897646"/>
              </p:ext>
            </p:extLst>
          </p:nvPr>
        </p:nvGraphicFramePr>
        <p:xfrm>
          <a:off x="3603625" y="2097088"/>
          <a:ext cx="6991350" cy="3965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8"/>
          </a:graphicData>
        </a:graphic>
      </p:graphicFrame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A77CAF5D-87B5-EC86-C73B-F9A4E1EBB41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9837738" y="2257425"/>
            <a:ext cx="304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9146D7-334A-431A-8740-47D23D1893B6}" type="datetime'''''8''''''''''''%''''''''''''''''''''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388" name="Espace réservé du texte 2">
            <a:extLst>
              <a:ext uri="{FF2B5EF4-FFF2-40B4-BE49-F238E27FC236}">
                <a16:creationId xmlns:a16="http://schemas.microsoft.com/office/drawing/2014/main" id="{6FD5DF2A-EF82-924E-3800-8A7E24AB8A92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9451975" y="2257425"/>
            <a:ext cx="307975" cy="1920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3577A8-72E8-4FDD-98B3-0310E061818E}" type="datetime'''''''''''3''''''''''''''''''''%''''''''''''''''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850FF896-CB76-DF5C-43D2-3547402064E0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8939213" y="2257425"/>
            <a:ext cx="3603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B07827-02E4-442F-9C82-2DFFD8514A6A}" type="datetime'''''''''''''''''''''''1''''''''''''''''''1''''''''''%'''">
              <a:rPr lang="fr-F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endParaRPr lang="fr-FR" sz="1400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B9E01125-296A-956F-665B-8D9D1F633CB4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6016625" y="2257425"/>
            <a:ext cx="4000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073CCF-B588-4420-B28F-B9CAE5E6355D}" type="datetime'''''''''''''''''''''''''''''''''''''''''74''%''''''''''''''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386" name="Espace réservé du texte 4">
            <a:extLst>
              <a:ext uri="{FF2B5EF4-FFF2-40B4-BE49-F238E27FC236}">
                <a16:creationId xmlns:a16="http://schemas.microsoft.com/office/drawing/2014/main" id="{1C416D00-FDFB-BED2-A1DD-F07F2ACBE356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301750" y="2257425"/>
            <a:ext cx="2171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EB64F364-DDDC-46E8-83E6-7D5A5548586F}" type="datetime'Cour''o''''n''''n''''''''e'' d''u m''''oye''n'' pô''l''e'''">
              <a:rPr lang="fr-FR" altLang="en-US" b="1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Couronne du moyen pôle</a:t>
            </a:fld>
            <a:endParaRPr lang="fr-FR" b="1">
              <a:latin typeface="+mn-lt"/>
            </a:endParaRPr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57EE272C-8C3E-1047-97B7-CAEEDA1488E9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6651625" y="2601913"/>
            <a:ext cx="4175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A5BB9D-2DD1-45C5-8AE1-072A21DCE118}" type="datetime'''''''''''''''''''''''''''''''''''''9''''''''6''''%''''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6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46" name="Espace réservé du texte 4">
            <a:extLst>
              <a:ext uri="{FF2B5EF4-FFF2-40B4-BE49-F238E27FC236}">
                <a16:creationId xmlns:a16="http://schemas.microsoft.com/office/drawing/2014/main" id="{5BAFAF2D-589A-47D7-BE55-14999F86A268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379538" y="2601913"/>
            <a:ext cx="2093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6193BA63-6B26-4530-BADE-8605667B1548}" type="datetime'''''C''o''''''''''u''ron''ne ''d''''u g''ran''d pô''le'''''''">
              <a:rPr lang="fr-FR" altLang="en-US" b="1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Couronne du grand pôle</a:t>
            </a:fld>
            <a:endParaRPr lang="fr-FR" b="1">
              <a:latin typeface="+mn-lt"/>
            </a:endParaRPr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C85CC647-5558-3910-CF1B-E66816953FE1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6534150" y="2947988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E1C1A0-B653-46CB-8EB0-FF4B5094442B}" type="datetime'''''''9''''''''''''''''''''''''''''''''''''''''''''7''%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7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50" name="Espace réservé du texte 4">
            <a:extLst>
              <a:ext uri="{FF2B5EF4-FFF2-40B4-BE49-F238E27FC236}">
                <a16:creationId xmlns:a16="http://schemas.microsoft.com/office/drawing/2014/main" id="{64A0FC37-3FD5-F541-1816-93EC7243AB7A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387350" y="2947988"/>
            <a:ext cx="3086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C2F41C66-0CB4-4D14-9D2E-97FDDE49BBE5}" type="datetime'C''ommune hors ''''at''tract''''io''n'' ''''de''s ville''s'''">
              <a:rPr lang="fr-FR" altLang="en-US" b="1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Commune hors attraction des villes</a:t>
            </a:fld>
            <a:endParaRPr lang="fr-FR" b="1">
              <a:latin typeface="+mn-lt"/>
            </a:endParaRPr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09CF383C-33F8-BC0A-4E57-06481075E505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9151938" y="3294063"/>
            <a:ext cx="2968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89DC80-DF09-4076-942D-4D31381150C7}" type="datetime'''''''''''''''''''7''%''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A0CEF38C-9131-2372-590E-57AFB51F8E36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8629650" y="3294063"/>
            <a:ext cx="2968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F17190-421A-4B5B-AA55-1A589551518B}" type="datetime'''''''''''''''''7%'''''''''''''''''''''''''''''''''''''''''''">
              <a:rPr lang="fr-F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endParaRPr lang="fr-FR" sz="1400"/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EA620980-D39C-818D-5D02-05967F7CB238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5919788" y="3294063"/>
            <a:ext cx="419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55E8D2-7403-4AEF-A8E3-FFFD3DE1C517}" type="datetime'''''''''''''''''''''''''''''''84''%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4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428" name="Espace réservé du texte 4">
            <a:extLst>
              <a:ext uri="{FF2B5EF4-FFF2-40B4-BE49-F238E27FC236}">
                <a16:creationId xmlns:a16="http://schemas.microsoft.com/office/drawing/2014/main" id="{518EE053-C3F7-18CF-C8E7-34E391CD96D7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2524125" y="3294063"/>
            <a:ext cx="949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D0F2759D-57B9-4961-8A9F-6F0C3E216326}" type="datetime'Gra''nd'''''''''''''' ''p''''''''ôle'''''''''''''''''">
              <a:rPr lang="fr-FR" altLang="en-US" b="1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Grand pôle</a:t>
            </a:fld>
            <a:endParaRPr lang="fr-FR" b="1">
              <a:latin typeface="+mn-lt"/>
            </a:endParaRP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A2E3E336-E191-9E41-E1E4-C184168DC3BF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8983663" y="3638550"/>
            <a:ext cx="309563" cy="1920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33F506-91B5-4BB2-B7DD-0A7FFE2FC071}" type="datetime'''''''''''''''''''''''''''''''''''''''''''''''4%''''''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8286ED86-C61E-AE32-7502-58E6F0087466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8329613" y="3638550"/>
            <a:ext cx="3794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209044-2892-4D04-BEF9-ED806C8CE979}" type="datetime'''''''''''''''''1''7''''''''''''''''%'''''''''">
              <a:rPr lang="fr-F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endParaRPr lang="fr-FR" sz="1400"/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583E6117-2F01-1B7C-CA59-D88E1D0276B4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5656263" y="3638550"/>
            <a:ext cx="4032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953F0B-14F7-4228-824B-9F06C86FBA56}" type="datetime'''''''''7''5''''''''''''''''''''''''''''''''''''''''''%''''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422" name="Espace réservé du texte 4">
            <a:extLst>
              <a:ext uri="{FF2B5EF4-FFF2-40B4-BE49-F238E27FC236}">
                <a16:creationId xmlns:a16="http://schemas.microsoft.com/office/drawing/2014/main" id="{D195F382-ECC8-223B-DE69-12D94F8E79CD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2468563" y="3638550"/>
            <a:ext cx="10048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0C12BF62-8180-4097-910B-B95386A2C39B}" type="datetime'''''M''''''o''''y''''''en'''''''' ''''''pô''''l''''e'">
              <a:rPr lang="fr-FR" altLang="en-US" b="1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Moyen pôle</a:t>
            </a:fld>
            <a:endParaRPr lang="fr-FR" b="1">
              <a:latin typeface="+mn-lt"/>
            </a:endParaRPr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5D7A9E32-ADA5-AD11-90B6-ABDDBB1DF9C5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8326438" y="3984625"/>
            <a:ext cx="3063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3E6A02-BAA8-44CD-83D8-EBD96B98F8FC}" type="datetime'''''''''''''''''''''''''6''''%''''''''''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701DCDC-A762-EB07-AE4F-ED2773F2A277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7970838" y="3984625"/>
            <a:ext cx="304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C8B589-F805-411A-B4F8-119F1A08F2E3}" type="datetime'''8''''''''%'''''''''''''''''''''''''''''''''''''''''''">
              <a:rPr lang="fr-F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endParaRPr lang="fr-FR" sz="1400"/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DEEC8435-CA5D-39AD-4EEB-615F56365E31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5591175" y="3984625"/>
            <a:ext cx="419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6CC60C-AEC8-4E13-8D40-C5AC8333D831}" type="datetime'8''''''4''''''''''%''''''''''''''''''''''''''''''''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4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417" name="Espace réservé du texte 4">
            <a:extLst>
              <a:ext uri="{FF2B5EF4-FFF2-40B4-BE49-F238E27FC236}">
                <a16:creationId xmlns:a16="http://schemas.microsoft.com/office/drawing/2014/main" id="{496FA8A9-E349-AE6B-1672-8104F9452B24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2244725" y="3984625"/>
            <a:ext cx="1228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1D1E9A38-55AE-4791-9250-1CAAAC6B19E4}" type="datetime'P''ar''''''''i''s'''' Ban''''''''''l''''i''''eu''''e'''''''''">
              <a:rPr lang="fr-FR" altLang="en-US" b="1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Paris Banlieue</a:t>
            </a:fld>
            <a:endParaRPr lang="fr-FR" b="1">
              <a:latin typeface="+mn-lt"/>
            </a:endParaRP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BC94B6E3-236F-B479-F24B-7DCDA05C8CB1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7239000" y="4329113"/>
            <a:ext cx="2968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DDEA59-C091-47FD-9620-EEEDD325B6BB}" type="datetime'''7''''''''''''''%''''''''''''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7983F2C4-3A39-7214-9B51-DC1DB155ED23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6834188" y="4329113"/>
            <a:ext cx="309563" cy="19208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4B79F8-3986-4DC7-8D57-176744D464EC}" type="datetime'''''4''''''''''%'''''''''''''''''''">
              <a:rPr lang="fr-F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fr-FR" sz="1400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13CBF398-4EA5-1B45-F420-C4F100105F30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5084763" y="4329113"/>
            <a:ext cx="4175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32ADB8-026C-4342-969D-655A050B2004}" type="datetime'''8''''''''''''''3''''''''''''''''''''''''''''''''''''''%''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391" name="Espace réservé du texte 4">
            <a:extLst>
              <a:ext uri="{FF2B5EF4-FFF2-40B4-BE49-F238E27FC236}">
                <a16:creationId xmlns:a16="http://schemas.microsoft.com/office/drawing/2014/main" id="{E1B4029E-6A85-AD38-5AB1-D6E59008118E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993775" y="4329113"/>
            <a:ext cx="2479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5066AAA4-5545-4089-B322-A037B1DA14DA}" type="datetime'''Cou''''ronne ''''''''du'' ''très ''gran''''''d ''pôl''e'''''">
              <a:rPr lang="fr-FR" altLang="en-US" b="1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Couronne du très grand pôle</a:t>
            </a:fld>
            <a:endParaRPr lang="fr-FR" b="1">
              <a:latin typeface="+mn-lt"/>
            </a:endParaRPr>
          </a:p>
        </p:txBody>
      </p:sp>
      <p:sp>
        <p:nvSpPr>
          <p:cNvPr id="31" name="Espace réservé du texte 2">
            <a:extLst>
              <a:ext uri="{FF2B5EF4-FFF2-40B4-BE49-F238E27FC236}">
                <a16:creationId xmlns:a16="http://schemas.microsoft.com/office/drawing/2014/main" id="{F89E6274-A97B-05BE-EC40-155FF359582F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7280275" y="4675188"/>
            <a:ext cx="309563" cy="1920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E29BBD9-7E4E-4BA1-8825-E71752A20B44}" type="datetime'''''4''%''''''''''''''''''''''''''''''''''''''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922" name="Espace réservé du texte 2">
            <a:extLst>
              <a:ext uri="{FF2B5EF4-FFF2-40B4-BE49-F238E27FC236}">
                <a16:creationId xmlns:a16="http://schemas.microsoft.com/office/drawing/2014/main" id="{D2B0BCF7-C458-8E88-2E46-5A7FCC48CDB1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10231438" y="2257425"/>
            <a:ext cx="309563" cy="1920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02529E-4156-41AC-AFCA-7EF7985FEC19}" type="datetime'''''''''''''''4''''%'''''''''''''''">
              <a:rPr lang="fr-F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fr-FR" sz="1400"/>
          </a:p>
        </p:txBody>
      </p:sp>
      <p:sp>
        <p:nvSpPr>
          <p:cNvPr id="33" name="Espace réservé du texte 2">
            <a:extLst>
              <a:ext uri="{FF2B5EF4-FFF2-40B4-BE49-F238E27FC236}">
                <a16:creationId xmlns:a16="http://schemas.microsoft.com/office/drawing/2014/main" id="{585F76DA-9906-F144-6459-A7529E6C35EC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4914900" y="4675188"/>
            <a:ext cx="4032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AF5DA9-30B8-4201-B8C9-55B2C6069158}" type="datetime'7''''''''''''''''''''''''5''''%''''''''''''''''''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4CA6E5AB-3F7E-4A88-089C-617B89F6BD9B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590550" y="4675188"/>
            <a:ext cx="2882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52DACA5B-F9AF-4070-A0CE-827079B2EDF2}" type="datetime'Pe''tit ''pôl''e''''/''Cou''ro''nne'' du p''''''etit ''pô''le'">
              <a:rPr lang="fr-FR" altLang="en-US" b="1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Petit pôle/Couronne du petit pôle</a:t>
            </a:fld>
            <a:endParaRPr lang="fr-FR" b="1">
              <a:latin typeface="+mn-lt"/>
            </a:endParaRPr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7DFD7D1-4FAA-2151-1F65-73A2C5060185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7019925" y="5021263"/>
            <a:ext cx="2968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8767B5-37A5-4185-87B7-65FDE430081D}" type="datetime'''''''''7''''%''''''''''''''''''''''''''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29" name="Espace réservé du texte 2">
            <a:extLst>
              <a:ext uri="{FF2B5EF4-FFF2-40B4-BE49-F238E27FC236}">
                <a16:creationId xmlns:a16="http://schemas.microsoft.com/office/drawing/2014/main" id="{85412965-BB70-B55D-8379-6172CE59FD7E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6727825" y="5021263"/>
            <a:ext cx="2968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5C6433-1878-4541-A662-2B94E80C0ACB}" type="datetime'''''''7''''''''''''''''''''''%''''''''''''''''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398" name="Espace réservé du texte 2">
            <a:extLst>
              <a:ext uri="{FF2B5EF4-FFF2-40B4-BE49-F238E27FC236}">
                <a16:creationId xmlns:a16="http://schemas.microsoft.com/office/drawing/2014/main" id="{EB8000F6-B2FE-D1E1-F500-22A5F94C8AA0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6443663" y="5021263"/>
            <a:ext cx="307975" cy="19208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D4CA61-4D51-483C-A45C-F7954A16E9E0}" type="datetime'''''''''''''''''''3''''''''''%'">
              <a:rPr lang="fr-F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fr-FR" sz="1400"/>
          </a:p>
        </p:txBody>
      </p:sp>
      <p:sp>
        <p:nvSpPr>
          <p:cNvPr id="30" name="Espace réservé du texte 2">
            <a:extLst>
              <a:ext uri="{FF2B5EF4-FFF2-40B4-BE49-F238E27FC236}">
                <a16:creationId xmlns:a16="http://schemas.microsoft.com/office/drawing/2014/main" id="{97A956A7-F400-C65D-2ABC-272BEF277439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4913313" y="5021263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8E3FDF-4D64-40E8-998F-3F01D7DA847E}" type="datetime'''''''''''''''''''''''''''76''''''''''''''''''''''''''''%''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396" name="Espace réservé du texte 4">
            <a:extLst>
              <a:ext uri="{FF2B5EF4-FFF2-40B4-BE49-F238E27FC236}">
                <a16:creationId xmlns:a16="http://schemas.microsoft.com/office/drawing/2014/main" id="{7E97A543-444F-1576-4AFF-54298A9D2EA5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2122488" y="5021263"/>
            <a:ext cx="13509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7AB56F10-C98B-4321-82AA-DBB6555E8046}" type="datetime'T''''rès ''gran''''''''''''''''d ''''''''p''ô''''l''e'''''">
              <a:rPr lang="fr-FR" altLang="en-US" b="1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Très grand pôle</a:t>
            </a:fld>
            <a:endParaRPr lang="fr-FR" b="1">
              <a:latin typeface="+mn-lt"/>
            </a:endParaRPr>
          </a:p>
        </p:txBody>
      </p:sp>
      <p:sp>
        <p:nvSpPr>
          <p:cNvPr id="39" name="Espace réservé du texte 2">
            <a:extLst>
              <a:ext uri="{FF2B5EF4-FFF2-40B4-BE49-F238E27FC236}">
                <a16:creationId xmlns:a16="http://schemas.microsoft.com/office/drawing/2014/main" id="{9BF29024-C1EC-2689-5C85-AF5F0E431C65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6462713" y="5365750"/>
            <a:ext cx="309563" cy="19208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52ADB3-EB56-4BB4-B814-D5FABEB76CBE}" type="datetime'''''''''4''''''''''''''''''''''''''''''''%'''''''''''''''''">
              <a:rPr lang="fr-F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fr-FR" sz="1400"/>
          </a:p>
        </p:txBody>
      </p:sp>
      <p:sp>
        <p:nvSpPr>
          <p:cNvPr id="40" name="Espace réservé du texte 2">
            <a:extLst>
              <a:ext uri="{FF2B5EF4-FFF2-40B4-BE49-F238E27FC236}">
                <a16:creationId xmlns:a16="http://schemas.microsoft.com/office/drawing/2014/main" id="{CB25D30B-3504-302A-7A43-B1C9BBE3237A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5943600" y="5365750"/>
            <a:ext cx="4111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D0BD35-38F9-495E-850E-2FF47D24AC7E}" type="datetime'''''''''2''''''''''''''''''''''''''''''''''''''''''''2''''%'">
              <a:rPr lang="fr-F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%</a:t>
            </a:fld>
            <a:endParaRPr lang="fr-FR" sz="1400"/>
          </a:p>
        </p:txBody>
      </p:sp>
      <p:sp>
        <p:nvSpPr>
          <p:cNvPr id="41" name="Espace réservé du texte 2">
            <a:extLst>
              <a:ext uri="{FF2B5EF4-FFF2-40B4-BE49-F238E27FC236}">
                <a16:creationId xmlns:a16="http://schemas.microsoft.com/office/drawing/2014/main" id="{538DE578-3649-BB58-A629-1E5955744C22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4560888" y="5365750"/>
            <a:ext cx="3794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AB48DE-B870-4AE2-9AB0-3740B9BB2D14}" type="datetime'''''''''''''''''7''''''''1''''''''''%''''''''''''''''''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406" name="Espace réservé du texte 4">
            <a:extLst>
              <a:ext uri="{FF2B5EF4-FFF2-40B4-BE49-F238E27FC236}">
                <a16:creationId xmlns:a16="http://schemas.microsoft.com/office/drawing/2014/main" id="{C481893F-CBD7-F4B8-8E2C-0850737E2884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1470025" y="5365750"/>
            <a:ext cx="2003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AAFE1502-2514-469C-859F-8C5078071E5B}" type="datetime'C''''o''''uro''''n''ne Ile ''''''''''''de F''r''a''''nce'">
              <a:rPr lang="fr-FR" altLang="en-US" b="1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Couronne Ile de France</a:t>
            </a:fld>
            <a:endParaRPr lang="fr-FR" b="1">
              <a:latin typeface="+mn-lt"/>
            </a:endParaRPr>
          </a:p>
        </p:txBody>
      </p:sp>
      <p:sp>
        <p:nvSpPr>
          <p:cNvPr id="35" name="Espace réservé du texte 2">
            <a:extLst>
              <a:ext uri="{FF2B5EF4-FFF2-40B4-BE49-F238E27FC236}">
                <a16:creationId xmlns:a16="http://schemas.microsoft.com/office/drawing/2014/main" id="{6EA28124-8D34-8832-224B-0C57EB35EDA4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4464050" y="5711825"/>
            <a:ext cx="415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27F422-3275-41D1-9803-5DCF154D33A1}" type="datetime'''''''''''''''''''''''3''''2%''''''''''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36" name="Espace réservé du texte 2">
            <a:extLst>
              <a:ext uri="{FF2B5EF4-FFF2-40B4-BE49-F238E27FC236}">
                <a16:creationId xmlns:a16="http://schemas.microsoft.com/office/drawing/2014/main" id="{69BAE1F6-0111-10A0-A332-98E18A092F97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4076700" y="5711825"/>
            <a:ext cx="411163" cy="1920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F56838-4274-47D8-91DF-DA412DD5A3B8}" type="datetime'''''''''''''2''''''''5''''''%''''''''''''''''''''''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38" name="Espace réservé du texte 2">
            <a:extLst>
              <a:ext uri="{FF2B5EF4-FFF2-40B4-BE49-F238E27FC236}">
                <a16:creationId xmlns:a16="http://schemas.microsoft.com/office/drawing/2014/main" id="{B70C0054-97B7-FB23-2A64-02C487B30E9C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3609975" y="5711825"/>
            <a:ext cx="379413" cy="1920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3AE685-2B49-4947-8ABB-D82D2FB0D76C}" type="datetime'''''''''''''''''''''''''''''''''''''''''''''''''''1''7%''''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11" name="Espace réservé du texte 4">
            <a:extLst>
              <a:ext uri="{FF2B5EF4-FFF2-40B4-BE49-F238E27FC236}">
                <a16:creationId xmlns:a16="http://schemas.microsoft.com/office/drawing/2014/main" id="{9CD1ED38-749A-4D62-9E41-C35885AD9CB2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2001838" y="5711825"/>
            <a:ext cx="14716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9DC780E7-D7F1-4FE0-9DD0-133D78183D95}" type="datetime'''Pa''''ris'' In''''''''''t''''r''''a ''''mur''''''''''os'''">
              <a:rPr lang="fr-FR" altLang="en-US" b="1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Paris Intra muros</a:t>
            </a:fld>
            <a:endParaRPr lang="fr-FR" b="1">
              <a:latin typeface="+mn-lt"/>
            </a:endParaRPr>
          </a:p>
        </p:txBody>
      </p:sp>
      <p:sp>
        <p:nvSpPr>
          <p:cNvPr id="387" name="Espace réservé du texte 2">
            <a:extLst>
              <a:ext uri="{FF2B5EF4-FFF2-40B4-BE49-F238E27FC236}">
                <a16:creationId xmlns:a16="http://schemas.microsoft.com/office/drawing/2014/main" id="{60D3D78B-137B-EAAB-1F2C-ABF4D7F26858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10560050" y="2257425"/>
            <a:ext cx="3000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7D43C70-010C-4E84-A27F-4FCDB3FD318B}" type="datetime'''1'''''''''''''''''''',''''''''''9'''''''''''''">
              <a:rPr lang="fr-FR" altLang="en-US" sz="1400" b="1" smtClean="0">
                <a:solidFill>
                  <a:schemeClr val="bg2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9</a:t>
            </a:fld>
            <a:endParaRPr lang="fr-FR" sz="1400" b="1">
              <a:solidFill>
                <a:schemeClr val="bg2"/>
              </a:solidFill>
            </a:endParaRPr>
          </a:p>
        </p:txBody>
      </p:sp>
      <p:sp>
        <p:nvSpPr>
          <p:cNvPr id="457" name="Espace réservé du texte 2">
            <a:extLst>
              <a:ext uri="{FF2B5EF4-FFF2-40B4-BE49-F238E27FC236}">
                <a16:creationId xmlns:a16="http://schemas.microsoft.com/office/drawing/2014/main" id="{5999A1E1-E113-98B1-4068-4ABBA285CCFE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10342563" y="2601913"/>
            <a:ext cx="298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6AF4F7B-6594-4CEF-974B-B82E19728874}" type="datetime'''1'''''''''',8'''''''''''''''''''''''">
              <a:rPr lang="fr-FR" altLang="en-US" sz="1400" b="1" smtClean="0">
                <a:solidFill>
                  <a:schemeClr val="bg2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8</a:t>
            </a:fld>
            <a:endParaRPr lang="fr-FR" sz="1400" b="1">
              <a:solidFill>
                <a:schemeClr val="bg2"/>
              </a:solidFill>
            </a:endParaRPr>
          </a:p>
        </p:txBody>
      </p:sp>
      <p:sp>
        <p:nvSpPr>
          <p:cNvPr id="463" name="Espace réservé du texte 2">
            <a:extLst>
              <a:ext uri="{FF2B5EF4-FFF2-40B4-BE49-F238E27FC236}">
                <a16:creationId xmlns:a16="http://schemas.microsoft.com/office/drawing/2014/main" id="{33977B1D-63F8-33B1-CC46-DCF8BED0D687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9991725" y="2947988"/>
            <a:ext cx="287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6B65142-D0C6-498F-89FC-B93CD58C5577}" type="datetime'''''''''''1'''''''''',''''''''''''''''''''''7'''''''''">
              <a:rPr lang="fr-FR" altLang="en-US" sz="1400" b="1" smtClean="0">
                <a:solidFill>
                  <a:schemeClr val="bg2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7</a:t>
            </a:fld>
            <a:endParaRPr lang="fr-FR" sz="1400" b="1">
              <a:solidFill>
                <a:schemeClr val="bg2"/>
              </a:solidFill>
            </a:endParaRPr>
          </a:p>
        </p:txBody>
      </p:sp>
      <p:sp>
        <p:nvSpPr>
          <p:cNvPr id="429" name="Espace réservé du texte 2">
            <a:extLst>
              <a:ext uri="{FF2B5EF4-FFF2-40B4-BE49-F238E27FC236}">
                <a16:creationId xmlns:a16="http://schemas.microsoft.com/office/drawing/2014/main" id="{D82DA64B-1D27-ADBB-4381-9C2C6282514D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9547225" y="3294063"/>
            <a:ext cx="298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7DCEA71-D788-4C93-8B09-8AD93DB49948}" type="datetime'''1'''''''''''''''''''''''''''''''',''''6'''''''''''''">
              <a:rPr lang="fr-FR" altLang="en-US" sz="1400" b="1" smtClean="0">
                <a:solidFill>
                  <a:schemeClr val="bg2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6</a:t>
            </a:fld>
            <a:endParaRPr lang="fr-FR" sz="1400" b="1">
              <a:solidFill>
                <a:schemeClr val="bg2"/>
              </a:solidFill>
            </a:endParaRPr>
          </a:p>
        </p:txBody>
      </p:sp>
      <p:sp>
        <p:nvSpPr>
          <p:cNvPr id="423" name="Espace réservé du texte 2">
            <a:extLst>
              <a:ext uri="{FF2B5EF4-FFF2-40B4-BE49-F238E27FC236}">
                <a16:creationId xmlns:a16="http://schemas.microsoft.com/office/drawing/2014/main" id="{FA7875C2-A113-7152-4E12-4576E810A6F6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9485313" y="3638550"/>
            <a:ext cx="298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114966D-44BE-4CB9-A161-8E4C1A387624}" type="datetime'''''''''''''''''1'''''''''''',6'''''''''''''''''''''">
              <a:rPr lang="fr-FR" altLang="en-US" sz="1400" b="1" smtClean="0">
                <a:solidFill>
                  <a:schemeClr val="bg2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6</a:t>
            </a:fld>
            <a:endParaRPr lang="fr-FR" sz="1400" b="1">
              <a:solidFill>
                <a:schemeClr val="bg2"/>
              </a:solidFill>
            </a:endParaRPr>
          </a:p>
        </p:txBody>
      </p:sp>
      <p:sp>
        <p:nvSpPr>
          <p:cNvPr id="418" name="Espace réservé du texte 2">
            <a:extLst>
              <a:ext uri="{FF2B5EF4-FFF2-40B4-BE49-F238E27FC236}">
                <a16:creationId xmlns:a16="http://schemas.microsoft.com/office/drawing/2014/main" id="{14397745-5ED5-AE9B-F265-DFAD61EC5985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8736013" y="3984625"/>
            <a:ext cx="3063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BDE13D6-64D2-4DC2-86D9-5A4C9FE642D2}" type="datetime'''''''1'''''',''''''''''''''''''''''''4'''''''''''''''">
              <a:rPr lang="fr-FR" altLang="en-US" sz="1400" b="1" smtClean="0">
                <a:solidFill>
                  <a:schemeClr val="bg2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4</a:t>
            </a:fld>
            <a:endParaRPr lang="fr-FR" sz="1400" b="1">
              <a:solidFill>
                <a:schemeClr val="bg2"/>
              </a:solidFill>
            </a:endParaRPr>
          </a:p>
        </p:txBody>
      </p:sp>
      <p:sp>
        <p:nvSpPr>
          <p:cNvPr id="392" name="Espace réservé du texte 2">
            <a:extLst>
              <a:ext uri="{FF2B5EF4-FFF2-40B4-BE49-F238E27FC236}">
                <a16:creationId xmlns:a16="http://schemas.microsoft.com/office/drawing/2014/main" id="{B23480A9-0DB2-904F-3154-39D101DAF74F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7608888" y="4329113"/>
            <a:ext cx="2571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AA4171D-5461-456A-BFF3-622DFC435053}" type="datetime'''''''''''''''''''''1'''''',''''''''''''''''''1'''''''''''''">
              <a:rPr lang="fr-FR" altLang="en-US" sz="1400" b="1" smtClean="0">
                <a:solidFill>
                  <a:schemeClr val="bg2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1</a:t>
            </a:fld>
            <a:endParaRPr lang="fr-FR" sz="1400" b="1">
              <a:solidFill>
                <a:schemeClr val="bg2"/>
              </a:solidFill>
            </a:endParaRPr>
          </a:p>
        </p:txBody>
      </p:sp>
      <p:sp>
        <p:nvSpPr>
          <p:cNvPr id="477" name="Espace réservé du texte 2">
            <a:extLst>
              <a:ext uri="{FF2B5EF4-FFF2-40B4-BE49-F238E27FC236}">
                <a16:creationId xmlns:a16="http://schemas.microsoft.com/office/drawing/2014/main" id="{C3651044-10CA-C366-4479-BC66E00180D2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7608888" y="4675188"/>
            <a:ext cx="2571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744F7A2-7105-48B3-85DD-AAF83FD7D7B5}" type="datetime'1'''''''''''''''''''''''''''',''''''''''''''''''''''1'''''">
              <a:rPr lang="fr-FR" altLang="en-US" sz="1400" b="1" smtClean="0">
                <a:solidFill>
                  <a:schemeClr val="bg2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1</a:t>
            </a:fld>
            <a:endParaRPr lang="fr-FR" sz="1400" b="1">
              <a:solidFill>
                <a:schemeClr val="bg2"/>
              </a:solidFill>
            </a:endParaRPr>
          </a:p>
        </p:txBody>
      </p:sp>
      <p:sp>
        <p:nvSpPr>
          <p:cNvPr id="397" name="Espace réservé du texte 2">
            <a:extLst>
              <a:ext uri="{FF2B5EF4-FFF2-40B4-BE49-F238E27FC236}">
                <a16:creationId xmlns:a16="http://schemas.microsoft.com/office/drawing/2014/main" id="{AA566364-8A31-96C4-4A39-672E910B0058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7450138" y="5021263"/>
            <a:ext cx="3032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994D052-66C6-4EF5-B5E8-8BF10B6CACFA}" type="datetime'''''''''''''''''''''1'''''''''',''''''''''''''''''''''0'''''">
              <a:rPr lang="fr-FR" altLang="en-US" sz="1400" b="1" smtClean="0">
                <a:solidFill>
                  <a:schemeClr val="bg2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0</a:t>
            </a:fld>
            <a:endParaRPr lang="fr-FR" sz="1400" b="1">
              <a:solidFill>
                <a:schemeClr val="bg2"/>
              </a:solidFill>
            </a:endParaRPr>
          </a:p>
        </p:txBody>
      </p:sp>
      <p:sp>
        <p:nvSpPr>
          <p:cNvPr id="407" name="Espace réservé du texte 2">
            <a:extLst>
              <a:ext uri="{FF2B5EF4-FFF2-40B4-BE49-F238E27FC236}">
                <a16:creationId xmlns:a16="http://schemas.microsoft.com/office/drawing/2014/main" id="{76218B69-E91F-1CAE-A04D-BD0C02BAA51A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6791325" y="5365750"/>
            <a:ext cx="3349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5552EFD-4BA2-4AA3-B82D-CBCAFC6B3D96}" type="datetime'''0'''''''''''',''''''''8'''''''''''''''''''">
              <a:rPr lang="fr-FR" altLang="en-US" sz="1400" b="1" smtClean="0">
                <a:solidFill>
                  <a:schemeClr val="bg2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,8</a:t>
            </a:fld>
            <a:endParaRPr lang="fr-FR" sz="1400" b="1">
              <a:solidFill>
                <a:schemeClr val="bg2"/>
              </a:solidFill>
            </a:endParaRPr>
          </a:p>
        </p:txBody>
      </p:sp>
      <p:sp>
        <p:nvSpPr>
          <p:cNvPr id="508" name="Espace réservé du texte 2">
            <a:extLst>
              <a:ext uri="{FF2B5EF4-FFF2-40B4-BE49-F238E27FC236}">
                <a16:creationId xmlns:a16="http://schemas.microsoft.com/office/drawing/2014/main" id="{C9479290-FD46-12C3-32F0-B2CAC7247373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5073650" y="5711825"/>
            <a:ext cx="342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6DB57A6-3586-4DDA-B215-2A6BE902D77A}" type="datetime'0'',''4'''''''''''''''''''''''''''''''''''">
              <a:rPr lang="fr-FR" altLang="en-US" sz="1400" b="1" smtClean="0">
                <a:solidFill>
                  <a:schemeClr val="bg2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,4</a:t>
            </a:fld>
            <a:endParaRPr lang="fr-FR" sz="1400" b="1">
              <a:solidFill>
                <a:schemeClr val="bg2"/>
              </a:solidFill>
            </a:endParaRPr>
          </a:p>
        </p:txBody>
      </p:sp>
      <p:sp>
        <p:nvSpPr>
          <p:cNvPr id="32" name="Espace réservé du texte 2">
            <a:extLst>
              <a:ext uri="{FF2B5EF4-FFF2-40B4-BE49-F238E27FC236}">
                <a16:creationId xmlns:a16="http://schemas.microsoft.com/office/drawing/2014/main" id="{9F02E121-E750-50F4-A8E4-94BA50194E6E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6757988" y="4675188"/>
            <a:ext cx="3857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E32E95-FCD6-4CCD-986C-80E6C8A6AC25}" type="datetime'''2''''1''''''''''''''''''%'''''''''''''''''''''''''''''''''''">
              <a:rPr lang="fr-F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endParaRPr lang="fr-FR" sz="1400"/>
          </a:p>
        </p:txBody>
      </p:sp>
      <p:sp>
        <p:nvSpPr>
          <p:cNvPr id="96" name="ZoneTexte 95">
            <a:extLst>
              <a:ext uri="{FF2B5EF4-FFF2-40B4-BE49-F238E27FC236}">
                <a16:creationId xmlns:a16="http://schemas.microsoft.com/office/drawing/2014/main" id="{0EB53E81-F097-3077-0FF1-B01E38D2514C}"/>
              </a:ext>
            </a:extLst>
          </p:cNvPr>
          <p:cNvSpPr txBox="1"/>
          <p:nvPr/>
        </p:nvSpPr>
        <p:spPr>
          <a:xfrm>
            <a:off x="10541001" y="1925722"/>
            <a:ext cx="124906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50" b="1">
                <a:solidFill>
                  <a:schemeClr val="bg2"/>
                </a:solidFill>
              </a:rPr>
              <a:t>kgCO</a:t>
            </a:r>
            <a:r>
              <a:rPr lang="fr-FR" sz="1050" b="1" baseline="-25000">
                <a:solidFill>
                  <a:schemeClr val="bg2"/>
                </a:solidFill>
              </a:rPr>
              <a:t>2</a:t>
            </a:r>
            <a:r>
              <a:rPr lang="fr-FR" sz="1050" b="1">
                <a:solidFill>
                  <a:schemeClr val="bg2"/>
                </a:solidFill>
              </a:rPr>
              <a:t>e/séanc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46D2D62F-3BFA-6EA9-0317-09E532E894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B5A6716-DBF2-AF4C-9665-1BA53E8D7A19}" type="slidenum">
              <a:rPr lang="fr-FR" smtClean="0"/>
              <a:pPr/>
              <a:t>15</a:t>
            </a:fld>
            <a:endParaRPr lang="fr-FR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26E2510-0A9B-9486-36DB-576C5535772B}"/>
              </a:ext>
            </a:extLst>
          </p:cNvPr>
          <p:cNvSpPr txBox="1">
            <a:spLocks/>
          </p:cNvSpPr>
          <p:nvPr/>
        </p:nvSpPr>
        <p:spPr>
          <a:xfrm>
            <a:off x="536574" y="314960"/>
            <a:ext cx="11115675" cy="8964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500">
                <a:solidFill>
                  <a:schemeClr val="accent1">
                    <a:lumMod val="40000"/>
                    <a:lumOff val="60000"/>
                  </a:schemeClr>
                </a:solidFill>
              </a:rPr>
              <a:t>Zoom sur les déplacements patientèle | </a:t>
            </a:r>
            <a:r>
              <a:rPr lang="fr-FR" sz="2500"/>
              <a:t>Hormis Paris intramuros, la mobilité de la patientèle reste assez uniforme, tant en distance qu’en en modes de transport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33F3691-0E05-8757-F0C3-0FB295644157}"/>
              </a:ext>
            </a:extLst>
          </p:cNvPr>
          <p:cNvSpPr txBox="1">
            <a:spLocks/>
          </p:cNvSpPr>
          <p:nvPr/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5A6716-DBF2-AF4C-9665-1BA53E8D7A19}" type="slidenum">
              <a:rPr lang="fr-FR" smtClean="0"/>
              <a:pPr/>
              <a:t>15</a:t>
            </a:fld>
            <a:endParaRPr lang="fr-FR"/>
          </a:p>
        </p:txBody>
      </p:sp>
      <p:sp>
        <p:nvSpPr>
          <p:cNvPr id="671" name="Rectangle 670">
            <a:extLst>
              <a:ext uri="{FF2B5EF4-FFF2-40B4-BE49-F238E27FC236}">
                <a16:creationId xmlns:a16="http://schemas.microsoft.com/office/drawing/2014/main" id="{70675319-370B-5870-13DA-F9170C969D12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7019925" y="6143625"/>
            <a:ext cx="250825" cy="187325"/>
          </a:xfrm>
          <a:prstGeom prst="rect">
            <a:avLst/>
          </a:prstGeom>
          <a:solidFill>
            <a:srgbClr val="D84C4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7" name="Rectangle 666">
            <a:extLst>
              <a:ext uri="{FF2B5EF4-FFF2-40B4-BE49-F238E27FC236}">
                <a16:creationId xmlns:a16="http://schemas.microsoft.com/office/drawing/2014/main" id="{B3A302EA-07DE-818D-B685-5B9EB723995A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3765550" y="6143625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74" name="Rectangle 673">
            <a:extLst>
              <a:ext uri="{FF2B5EF4-FFF2-40B4-BE49-F238E27FC236}">
                <a16:creationId xmlns:a16="http://schemas.microsoft.com/office/drawing/2014/main" id="{4E654CAB-E2F1-8BBC-977F-C8A12D155304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8188325" y="6397625"/>
            <a:ext cx="250825" cy="187325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8" name="Rectangle 667">
            <a:extLst>
              <a:ext uri="{FF2B5EF4-FFF2-40B4-BE49-F238E27FC236}">
                <a16:creationId xmlns:a16="http://schemas.microsoft.com/office/drawing/2014/main" id="{BD181AA6-900F-5496-860E-7C7F7C0D9675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3765550" y="6397625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73" name="Rectangle 672">
            <a:extLst>
              <a:ext uri="{FF2B5EF4-FFF2-40B4-BE49-F238E27FC236}">
                <a16:creationId xmlns:a16="http://schemas.microsoft.com/office/drawing/2014/main" id="{F7255906-90F2-BCDE-1B76-97E205EC2027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8188325" y="6143625"/>
            <a:ext cx="250825" cy="187325"/>
          </a:xfrm>
          <a:prstGeom prst="rect">
            <a:avLst/>
          </a:prstGeom>
          <a:solidFill>
            <a:srgbClr val="C30C3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9" name="Rectangle 668">
            <a:extLst>
              <a:ext uri="{FF2B5EF4-FFF2-40B4-BE49-F238E27FC236}">
                <a16:creationId xmlns:a16="http://schemas.microsoft.com/office/drawing/2014/main" id="{84C6642C-2EDA-2F14-9723-DB0FCC09675F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5665788" y="6143625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72" name="Rectangle 671">
            <a:extLst>
              <a:ext uri="{FF2B5EF4-FFF2-40B4-BE49-F238E27FC236}">
                <a16:creationId xmlns:a16="http://schemas.microsoft.com/office/drawing/2014/main" id="{13728C93-4555-29D5-361D-F74E4396CC21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7019925" y="6397625"/>
            <a:ext cx="250825" cy="187325"/>
          </a:xfrm>
          <a:prstGeom prst="rect">
            <a:avLst/>
          </a:prstGeom>
          <a:solidFill>
            <a:srgbClr val="AA3B3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70" name="Rectangle 669">
            <a:extLst>
              <a:ext uri="{FF2B5EF4-FFF2-40B4-BE49-F238E27FC236}">
                <a16:creationId xmlns:a16="http://schemas.microsoft.com/office/drawing/2014/main" id="{8C5E6606-E090-ABD8-743F-88D947ABBC4D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5665788" y="6397625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75" name="Rectangle 674">
            <a:extLst>
              <a:ext uri="{FF2B5EF4-FFF2-40B4-BE49-F238E27FC236}">
                <a16:creationId xmlns:a16="http://schemas.microsoft.com/office/drawing/2014/main" id="{0C012398-B7EC-B327-DB42-ADFF22AEC40E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8926513" y="6143625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2" name="Espace réservé du texte 2">
            <a:extLst>
              <a:ext uri="{FF2B5EF4-FFF2-40B4-BE49-F238E27FC236}">
                <a16:creationId xmlns:a16="http://schemas.microsoft.com/office/drawing/2014/main" id="{2FCCC437-7207-D60B-04DA-206FF8A8F54D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7321550" y="6154738"/>
            <a:ext cx="4968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911AF2-0207-4FF0-A5C7-87965D8CBE56}" type="datetime'''Mé''''t''r''''''''''''''''''''''''o'''''''''''''''''''''''">
              <a:rPr lang="fr-F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étro</a:t>
            </a:fld>
            <a:endParaRPr lang="fr-FR" sz="1400"/>
          </a:p>
        </p:txBody>
      </p:sp>
      <p:sp>
        <p:nvSpPr>
          <p:cNvPr id="227" name="Espace réservé du texte 2">
            <a:extLst>
              <a:ext uri="{FF2B5EF4-FFF2-40B4-BE49-F238E27FC236}">
                <a16:creationId xmlns:a16="http://schemas.microsoft.com/office/drawing/2014/main" id="{7F13AD97-F447-B6D0-D106-D15FE3DF04B9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auto">
          <a:xfrm>
            <a:off x="7321550" y="6408738"/>
            <a:ext cx="7651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BED3C86-3ACD-48E0-ADFC-05B9306C6FFA}" type="datetime'T''r''''''a''m''''''w''a''''''''''y'''''''''''''''">
              <a:rPr lang="fr-F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ramway</a:t>
            </a:fld>
            <a:endParaRPr lang="fr-FR" sz="1400"/>
          </a:p>
        </p:txBody>
      </p:sp>
      <p:sp>
        <p:nvSpPr>
          <p:cNvPr id="63" name="Espace réservé du texte 2">
            <a:extLst>
              <a:ext uri="{FF2B5EF4-FFF2-40B4-BE49-F238E27FC236}">
                <a16:creationId xmlns:a16="http://schemas.microsoft.com/office/drawing/2014/main" id="{BB006ADD-B94C-D782-1D07-7F8ABB9FD11A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auto">
          <a:xfrm>
            <a:off x="5967413" y="6408738"/>
            <a:ext cx="312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BD35EB1-F597-4C3A-BB29-A118F03AEAB5}" type="datetime'''''B''''''''''''''u''''''''''''''''s'''''''''''''''''''''''">
              <a:rPr lang="fr-F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us</a:t>
            </a:fld>
            <a:endParaRPr lang="fr-FR" sz="1400"/>
          </a:p>
        </p:txBody>
      </p:sp>
      <p:sp>
        <p:nvSpPr>
          <p:cNvPr id="61" name="Espace réservé du texte 2">
            <a:extLst>
              <a:ext uri="{FF2B5EF4-FFF2-40B4-BE49-F238E27FC236}">
                <a16:creationId xmlns:a16="http://schemas.microsoft.com/office/drawing/2014/main" id="{4DA7FE18-7EEE-D0AE-47F7-5FB63299AD7C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auto">
          <a:xfrm>
            <a:off x="8489950" y="6154738"/>
            <a:ext cx="3349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E307A6-E9FE-4DB1-9144-A55B2855DAD5}" type="datetime'''''''''''R''''E''''''''''''''''''''''''R'''''''''">
              <a:rPr lang="fr-F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R</a:t>
            </a:fld>
            <a:endParaRPr lang="fr-FR" sz="1400"/>
          </a:p>
        </p:txBody>
      </p:sp>
      <p:sp>
        <p:nvSpPr>
          <p:cNvPr id="448" name="Espace réservé du texte 2">
            <a:extLst>
              <a:ext uri="{FF2B5EF4-FFF2-40B4-BE49-F238E27FC236}">
                <a16:creationId xmlns:a16="http://schemas.microsoft.com/office/drawing/2014/main" id="{58E1F2C7-85B6-3964-15CB-CDAA04015DC0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auto">
          <a:xfrm>
            <a:off x="5967413" y="6154738"/>
            <a:ext cx="950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A60F433-FB0C-4D5F-89C0-76939E4D40ED}" type="datetime'De''''''''''''''ux ''''r''o''''u''''''''''''''''e''s'''''">
              <a:rPr lang="fr-F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eux roues</a:t>
            </a:fld>
            <a:endParaRPr lang="fr-FR" sz="1400"/>
          </a:p>
        </p:txBody>
      </p:sp>
      <p:sp>
        <p:nvSpPr>
          <p:cNvPr id="60" name="Espace réservé du texte 2">
            <a:extLst>
              <a:ext uri="{FF2B5EF4-FFF2-40B4-BE49-F238E27FC236}">
                <a16:creationId xmlns:a16="http://schemas.microsoft.com/office/drawing/2014/main" id="{FE12A397-68CD-B2D2-D5CD-C5AF73087425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auto">
          <a:xfrm>
            <a:off x="8489950" y="6408738"/>
            <a:ext cx="3349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5CDB751-A35A-47B7-A1EB-0F262AB77B24}" type="datetime'''TE''''''''''''''''''''''R'''''''''''''">
              <a:rPr lang="fr-F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ER</a:t>
            </a:fld>
            <a:endParaRPr lang="fr-FR" sz="1400"/>
          </a:p>
        </p:txBody>
      </p:sp>
      <p:sp>
        <p:nvSpPr>
          <p:cNvPr id="178" name="Espace réservé du texte 2">
            <a:extLst>
              <a:ext uri="{FF2B5EF4-FFF2-40B4-BE49-F238E27FC236}">
                <a16:creationId xmlns:a16="http://schemas.microsoft.com/office/drawing/2014/main" id="{A5BFE531-D812-612A-81B2-0E8CDA49057D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auto">
          <a:xfrm>
            <a:off x="4067175" y="6408738"/>
            <a:ext cx="1482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7DEA516-6290-44EC-BF2D-9712428252DD}" type="datetime'''''Vo''i''tur''e'''''' ''él''''ec''''''''''''tr''''iqu''e'''">
              <a:rPr lang="fr-F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oiture électrique</a:t>
            </a:fld>
            <a:endParaRPr lang="fr-FR" sz="1400"/>
          </a:p>
        </p:txBody>
      </p:sp>
      <p:sp>
        <p:nvSpPr>
          <p:cNvPr id="57" name="Espace réservé du texte 2">
            <a:extLst>
              <a:ext uri="{FF2B5EF4-FFF2-40B4-BE49-F238E27FC236}">
                <a16:creationId xmlns:a16="http://schemas.microsoft.com/office/drawing/2014/main" id="{A0038888-7B0E-C2B3-F38E-C394C3F3F990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auto">
          <a:xfrm>
            <a:off x="9228138" y="6154738"/>
            <a:ext cx="12525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09481D5-373D-4DCF-983C-E4FE252E7D51}" type="datetime'''''''V''élo'' él''''e''''''c''t''riq''''''''''''''u''e'''''">
              <a:rPr lang="fr-F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élo électrique</a:t>
            </a:fld>
            <a:endParaRPr lang="fr-FR" sz="1400"/>
          </a:p>
        </p:txBody>
      </p:sp>
      <p:sp>
        <p:nvSpPr>
          <p:cNvPr id="154" name="Espace réservé du texte 2">
            <a:extLst>
              <a:ext uri="{FF2B5EF4-FFF2-40B4-BE49-F238E27FC236}">
                <a16:creationId xmlns:a16="http://schemas.microsoft.com/office/drawing/2014/main" id="{D3E56DB4-2507-2269-0DE4-738F97871387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auto">
          <a:xfrm>
            <a:off x="4067175" y="6154738"/>
            <a:ext cx="149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2C1A840-F4EE-4B40-B231-81E6F6332E95}" type="datetime'V''o''''''''''''''''''''''i''t''u''re ''thermi''q''u''''e'">
              <a:rPr lang="fr-F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oiture thermique</a:t>
            </a:fld>
            <a:endParaRPr lang="fr-FR" sz="1400"/>
          </a:p>
        </p:txBody>
      </p:sp>
      <p:cxnSp>
        <p:nvCxnSpPr>
          <p:cNvPr id="875" name="Connecteur droit 874">
            <a:extLst>
              <a:ext uri="{FF2B5EF4-FFF2-40B4-BE49-F238E27FC236}">
                <a16:creationId xmlns:a16="http://schemas.microsoft.com/office/drawing/2014/main" id="{A9BF49D4-593A-D470-9B2A-1AA582E2CC54}"/>
              </a:ext>
            </a:extLst>
          </p:cNvPr>
          <p:cNvCxnSpPr>
            <a:cxnSpLocks/>
          </p:cNvCxnSpPr>
          <p:nvPr/>
        </p:nvCxnSpPr>
        <p:spPr>
          <a:xfrm>
            <a:off x="10567988" y="2192296"/>
            <a:ext cx="1222073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7" name="Connecteur droit 926">
            <a:extLst>
              <a:ext uri="{FF2B5EF4-FFF2-40B4-BE49-F238E27FC236}">
                <a16:creationId xmlns:a16="http://schemas.microsoft.com/office/drawing/2014/main" id="{5826E5F1-7E6E-FFA4-E8BB-BEA5A690A857}"/>
              </a:ext>
            </a:extLst>
          </p:cNvPr>
          <p:cNvCxnSpPr>
            <a:cxnSpLocks/>
          </p:cNvCxnSpPr>
          <p:nvPr/>
        </p:nvCxnSpPr>
        <p:spPr>
          <a:xfrm>
            <a:off x="685800" y="1925722"/>
            <a:ext cx="1069622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9" name="ZoneTexte 928">
            <a:extLst>
              <a:ext uri="{FF2B5EF4-FFF2-40B4-BE49-F238E27FC236}">
                <a16:creationId xmlns:a16="http://schemas.microsoft.com/office/drawing/2014/main" id="{3BBF30C2-BE39-1D0E-5C92-C58F360B4973}"/>
              </a:ext>
            </a:extLst>
          </p:cNvPr>
          <p:cNvSpPr txBox="1"/>
          <p:nvPr/>
        </p:nvSpPr>
        <p:spPr>
          <a:xfrm>
            <a:off x="583735" y="1556390"/>
            <a:ext cx="107982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/>
              <a:t>Répartition modale en fonction de la distance </a:t>
            </a:r>
            <a:r>
              <a:rPr lang="fr-FR" sz="1400"/>
              <a:t>(%, km/séance) </a:t>
            </a:r>
            <a:r>
              <a:rPr lang="fr-FR" sz="1400" b="1"/>
              <a:t>et empreinte carbone par séance en fonction l’aire urbaine</a:t>
            </a:r>
            <a:r>
              <a:rPr lang="fr-FR" sz="1400" b="1" baseline="30000"/>
              <a:t>1</a:t>
            </a:r>
            <a:r>
              <a:rPr lang="fr-FR" sz="1400" b="1"/>
              <a:t> </a:t>
            </a:r>
          </a:p>
        </p:txBody>
      </p:sp>
      <p:sp>
        <p:nvSpPr>
          <p:cNvPr id="932" name="Espace réservé du pied de page 3">
            <a:extLst>
              <a:ext uri="{FF2B5EF4-FFF2-40B4-BE49-F238E27FC236}">
                <a16:creationId xmlns:a16="http://schemas.microsoft.com/office/drawing/2014/main" id="{B3293761-E3DA-084F-7C00-BD27AF5700AF}"/>
              </a:ext>
            </a:extLst>
          </p:cNvPr>
          <p:cNvSpPr txBox="1">
            <a:spLocks/>
          </p:cNvSpPr>
          <p:nvPr/>
        </p:nvSpPr>
        <p:spPr>
          <a:xfrm>
            <a:off x="1270361" y="6179795"/>
            <a:ext cx="8499114" cy="40005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fr-FR"/>
            </a:defPPr>
            <a:lvl1pPr>
              <a:defRPr sz="1000" i="0">
                <a:solidFill>
                  <a:schemeClr val="bg2">
                    <a:lumMod val="75000"/>
                  </a:schemeClr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(1) Zonage en aires urbaines de 2010</a:t>
            </a:r>
          </a:p>
        </p:txBody>
      </p:sp>
      <p:sp>
        <p:nvSpPr>
          <p:cNvPr id="914" name="Flèche vers le bas 913">
            <a:extLst>
              <a:ext uri="{FF2B5EF4-FFF2-40B4-BE49-F238E27FC236}">
                <a16:creationId xmlns:a16="http://schemas.microsoft.com/office/drawing/2014/main" id="{4573012D-A8A5-7EC7-2E71-D26DDCF8BAC9}"/>
              </a:ext>
            </a:extLst>
          </p:cNvPr>
          <p:cNvSpPr/>
          <p:nvPr/>
        </p:nvSpPr>
        <p:spPr>
          <a:xfrm>
            <a:off x="11045760" y="2257425"/>
            <a:ext cx="239541" cy="3646488"/>
          </a:xfrm>
          <a:prstGeom prst="downArrow">
            <a:avLst/>
          </a:prstGeom>
          <a:gradFill flip="none" rotWithShape="1">
            <a:gsLst>
              <a:gs pos="1000">
                <a:schemeClr val="bg2">
                  <a:lumMod val="40000"/>
                  <a:lumOff val="60000"/>
                </a:schemeClr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288810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4532A4BE-76EA-03F0-3222-EC8FD1F421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think-cell data - do not delete" hidden="1">
            <a:extLst>
              <a:ext uri="{FF2B5EF4-FFF2-40B4-BE49-F238E27FC236}">
                <a16:creationId xmlns:a16="http://schemas.microsoft.com/office/drawing/2014/main" id="{42AE889E-5C88-162D-DE44-18A44FAF23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11276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9" imgW="7772400" imgH="10058400" progId="TCLayout.ActiveDocument.1">
                  <p:embed/>
                </p:oleObj>
              </mc:Choice>
              <mc:Fallback>
                <p:oleObj name="Diapositive think-cell" r:id="rId49" imgW="7772400" imgH="10058400" progId="TCLayout.ActiveDocument.1">
                  <p:embed/>
                  <p:pic>
                    <p:nvPicPr>
                      <p:cNvPr id="4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AE889E-5C88-162D-DE44-18A44FAF23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" name="Chart 3">
            <a:extLst>
              <a:ext uri="{FF2B5EF4-FFF2-40B4-BE49-F238E27FC236}">
                <a16:creationId xmlns:a16="http://schemas.microsoft.com/office/drawing/2014/main" id="{EF387D98-D69D-8305-70B0-B4D89974130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3196420"/>
              </p:ext>
            </p:extLst>
          </p:nvPr>
        </p:nvGraphicFramePr>
        <p:xfrm>
          <a:off x="3603625" y="1873250"/>
          <a:ext cx="6991350" cy="4413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>
        <p:nvSpPr>
          <p:cNvPr id="388" name="Espace réservé du texte 2">
            <a:extLst>
              <a:ext uri="{FF2B5EF4-FFF2-40B4-BE49-F238E27FC236}">
                <a16:creationId xmlns:a16="http://schemas.microsoft.com/office/drawing/2014/main" id="{C7DC1B57-E137-B33B-5017-179990F18776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9451975" y="2257425"/>
            <a:ext cx="307975" cy="1920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3577A8-72E8-4FDD-98B3-0310E061818E}" type="datetime'''''''''''3''''''''''''''''''''%''''''''''''''''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386" name="Espace réservé du texte 4">
            <a:extLst>
              <a:ext uri="{FF2B5EF4-FFF2-40B4-BE49-F238E27FC236}">
                <a16:creationId xmlns:a16="http://schemas.microsoft.com/office/drawing/2014/main" id="{DDD54DDC-48A9-1AD2-C28D-FBBEF9FE12F0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1396999" y="2257425"/>
            <a:ext cx="2171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EB64F364-DDDC-46E8-83E6-7D5A5548586F}" type="datetime'Cour''o''''n''''n''''''''e'' d''u m''''oye''n'' pô''l''e'''">
              <a:rPr lang="fr-FR" altLang="en-US" b="1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Couronne du moyen pôle</a:t>
            </a:fld>
            <a:endParaRPr lang="fr-FR" b="1">
              <a:latin typeface="+mn-lt"/>
            </a:endParaRPr>
          </a:p>
        </p:txBody>
      </p:sp>
      <p:sp>
        <p:nvSpPr>
          <p:cNvPr id="422" name="Espace réservé du texte 4">
            <a:extLst>
              <a:ext uri="{FF2B5EF4-FFF2-40B4-BE49-F238E27FC236}">
                <a16:creationId xmlns:a16="http://schemas.microsoft.com/office/drawing/2014/main" id="{6506D826-08EA-45AD-A7D4-E7580BCEE62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2563813" y="2601913"/>
            <a:ext cx="10048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0C12BF62-8180-4097-910B-B95386A2C39B}" type="datetime'''''M''''''o''''y''''''en'''''''' ''''''pô''''l''''e'">
              <a:rPr lang="fr-FR" altLang="en-US" b="1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Moyen pôle</a:t>
            </a:fld>
            <a:endParaRPr lang="fr-FR" b="1">
              <a:latin typeface="+mn-lt"/>
            </a:endParaRPr>
          </a:p>
        </p:txBody>
      </p:sp>
      <p:sp>
        <p:nvSpPr>
          <p:cNvPr id="391" name="Espace réservé du texte 4">
            <a:extLst>
              <a:ext uri="{FF2B5EF4-FFF2-40B4-BE49-F238E27FC236}">
                <a16:creationId xmlns:a16="http://schemas.microsoft.com/office/drawing/2014/main" id="{D3A35C67-3D65-ACA5-A25B-22433C3B05B9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089025" y="2947988"/>
            <a:ext cx="2479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5066AAA4-5545-4089-B322-A037B1DA14DA}" type="datetime'''Cou''''ronne ''''''''du'' ''très ''gran''''''d ''pôl''e'''''">
              <a:rPr lang="fr-FR" altLang="en-US" b="1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Couronne du très grand pôle</a:t>
            </a:fld>
            <a:endParaRPr lang="fr-FR" b="1">
              <a:latin typeface="+mn-lt"/>
            </a:endParaRPr>
          </a:p>
        </p:txBody>
      </p:sp>
      <p:sp>
        <p:nvSpPr>
          <p:cNvPr id="46" name="Espace réservé du texte 4">
            <a:extLst>
              <a:ext uri="{FF2B5EF4-FFF2-40B4-BE49-F238E27FC236}">
                <a16:creationId xmlns:a16="http://schemas.microsoft.com/office/drawing/2014/main" id="{DC357256-CCB7-804A-A9DC-180DA06BAD66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474789" y="3294063"/>
            <a:ext cx="2093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6193BA63-6B26-4530-BADE-8605667B1548}" type="datetime'''''C''o''''''''''u''ron''ne ''d''''u g''ran''d pô''le'''''''">
              <a:rPr lang="fr-FR" altLang="en-US" b="1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Couronne du grand pôle</a:t>
            </a:fld>
            <a:endParaRPr lang="fr-FR" b="1">
              <a:latin typeface="+mn-lt"/>
            </a:endParaRPr>
          </a:p>
        </p:txBody>
      </p:sp>
      <p:sp>
        <p:nvSpPr>
          <p:cNvPr id="417" name="Espace réservé du texte 4">
            <a:extLst>
              <a:ext uri="{FF2B5EF4-FFF2-40B4-BE49-F238E27FC236}">
                <a16:creationId xmlns:a16="http://schemas.microsoft.com/office/drawing/2014/main" id="{1F28A6DF-87D9-A254-26D6-7508163BE692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2339975" y="3638550"/>
            <a:ext cx="1228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1D1E9A38-55AE-4791-9250-1CAAAC6B19E4}" type="datetime'P''ar''''''''i''s'''' Ban''''''''''l''''i''''eu''''e'''''''''">
              <a:rPr lang="fr-FR" altLang="en-US" b="1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Paris Banlieue</a:t>
            </a:fld>
            <a:endParaRPr lang="fr-FR" b="1">
              <a:latin typeface="+mn-lt"/>
            </a:endParaRPr>
          </a:p>
        </p:txBody>
      </p:sp>
      <p:sp>
        <p:nvSpPr>
          <p:cNvPr id="50" name="Espace réservé du texte 4">
            <a:extLst>
              <a:ext uri="{FF2B5EF4-FFF2-40B4-BE49-F238E27FC236}">
                <a16:creationId xmlns:a16="http://schemas.microsoft.com/office/drawing/2014/main" id="{62814763-556C-21B3-C0CD-4ADF20482A86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482599" y="3984625"/>
            <a:ext cx="3086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C2F41C66-0CB4-4D14-9D2E-97FDDE49BBE5}" type="datetime'C''ommune hors ''''at''tract''''io''n'' ''''de''s ville''s'''">
              <a:rPr lang="fr-FR" altLang="en-US" b="1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Commune hors attraction des villes</a:t>
            </a:fld>
            <a:endParaRPr lang="fr-FR" b="1">
              <a:latin typeface="+mn-lt"/>
            </a:endParaRPr>
          </a:p>
        </p:txBody>
      </p:sp>
      <p:sp>
        <p:nvSpPr>
          <p:cNvPr id="428" name="Espace réservé du texte 4">
            <a:extLst>
              <a:ext uri="{FF2B5EF4-FFF2-40B4-BE49-F238E27FC236}">
                <a16:creationId xmlns:a16="http://schemas.microsoft.com/office/drawing/2014/main" id="{3ED242CA-1D9E-4F5D-81DA-B27FA2F8C79B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2619376" y="4329113"/>
            <a:ext cx="949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D0F2759D-57B9-4961-8A9F-6F0C3E216326}" type="datetime'Gra''nd'''''''''''''' ''p''''''''ôle'''''''''''''''''">
              <a:rPr lang="fr-FR" altLang="en-US" b="1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Grand pôle</a:t>
            </a:fld>
            <a:endParaRPr lang="fr-FR" b="1">
              <a:latin typeface="+mn-lt"/>
            </a:endParaRPr>
          </a:p>
        </p:txBody>
      </p:sp>
      <p:sp>
        <p:nvSpPr>
          <p:cNvPr id="398" name="Espace réservé du texte 2">
            <a:extLst>
              <a:ext uri="{FF2B5EF4-FFF2-40B4-BE49-F238E27FC236}">
                <a16:creationId xmlns:a16="http://schemas.microsoft.com/office/drawing/2014/main" id="{AB0DA65B-B653-5EDF-46D5-7F95A05DE639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8848725" y="4675188"/>
            <a:ext cx="307975" cy="19208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D4CA61-4D51-483C-A45C-F7954A16E9E0}" type="datetime'''''''''''''''''''3''''''''''%'">
              <a:rPr lang="fr-F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fr-FR" sz="1400"/>
          </a:p>
        </p:txBody>
      </p:sp>
      <p:sp>
        <p:nvSpPr>
          <p:cNvPr id="396" name="Espace réservé du texte 4">
            <a:extLst>
              <a:ext uri="{FF2B5EF4-FFF2-40B4-BE49-F238E27FC236}">
                <a16:creationId xmlns:a16="http://schemas.microsoft.com/office/drawing/2014/main" id="{52AB4646-5893-05E6-D445-16B11232A3B1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2217739" y="4675188"/>
            <a:ext cx="13509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7AB56F10-C98B-4321-82AA-DBB6555E8046}" type="datetime'T''''rès ''gran''''''''''''''''d ''''''''p''ô''''l''e'''''">
              <a:rPr lang="fr-FR" altLang="en-US" b="1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Très grand pôle</a:t>
            </a:fld>
            <a:endParaRPr lang="fr-FR" b="1">
              <a:latin typeface="+mn-lt"/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072E3E2-94A7-2051-19EA-B07274858F5B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685800" y="5021263"/>
            <a:ext cx="2882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52DACA5B-F9AF-4070-A0CE-827079B2EDF2}" type="datetime'Pe''tit ''pôl''e''''/''Cou''ro''nne'' du p''''''etit ''pô''le'">
              <a:rPr lang="fr-FR" altLang="en-US" b="1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Petit pôle/Couronne du petit pôle</a:t>
            </a:fld>
            <a:endParaRPr lang="fr-FR" b="1">
              <a:latin typeface="+mn-lt"/>
            </a:endParaRPr>
          </a:p>
        </p:txBody>
      </p:sp>
      <p:sp>
        <p:nvSpPr>
          <p:cNvPr id="703" name="Espace réservé du texte 2">
            <a:extLst>
              <a:ext uri="{FF2B5EF4-FFF2-40B4-BE49-F238E27FC236}">
                <a16:creationId xmlns:a16="http://schemas.microsoft.com/office/drawing/2014/main" id="{9F529C57-B306-06BC-44C6-4044241590E5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9736138" y="5365750"/>
            <a:ext cx="307975" cy="192088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4E6D10-11E8-4ABE-BA6A-04FDE88E4459}" type="datetime'''''''''''''''''''''''''''''''''''''''3''''''''''''''''%''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894" name="Espace réservé du texte 2">
            <a:extLst>
              <a:ext uri="{FF2B5EF4-FFF2-40B4-BE49-F238E27FC236}">
                <a16:creationId xmlns:a16="http://schemas.microsoft.com/office/drawing/2014/main" id="{BAC17D32-C3AB-8C36-5C65-58187C742EC5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4759325" y="5365750"/>
            <a:ext cx="307975" cy="19208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A426D2-8A4C-41F8-941A-166FBD03D0F3}" type="datetime'''''''''''''''''''''''''''''''3''''''''''''''%'''''''''">
              <a:rPr lang="fr-F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fr-FR" sz="1400"/>
          </a:p>
        </p:txBody>
      </p:sp>
      <p:sp>
        <p:nvSpPr>
          <p:cNvPr id="922" name="Espace réservé du texte 2">
            <a:extLst>
              <a:ext uri="{FF2B5EF4-FFF2-40B4-BE49-F238E27FC236}">
                <a16:creationId xmlns:a16="http://schemas.microsoft.com/office/drawing/2014/main" id="{A227543E-FAB1-631D-E2EB-5420256A4F09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10231438" y="2257425"/>
            <a:ext cx="309563" cy="1920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02529E-4156-41AC-AFCA-7EF7985FEC19}" type="datetime'''''''''''''''4''''%'''''''''''''''">
              <a:rPr lang="fr-F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fr-FR" sz="1400"/>
          </a:p>
        </p:txBody>
      </p:sp>
      <p:sp>
        <p:nvSpPr>
          <p:cNvPr id="406" name="Espace réservé du texte 4">
            <a:extLst>
              <a:ext uri="{FF2B5EF4-FFF2-40B4-BE49-F238E27FC236}">
                <a16:creationId xmlns:a16="http://schemas.microsoft.com/office/drawing/2014/main" id="{CEA52830-4E09-5A5B-02D2-0C64256176AB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1565275" y="5711825"/>
            <a:ext cx="2003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AAFE1502-2514-469C-859F-8C5078071E5B}" type="datetime'C''''o''''uro''''n''ne Ile ''''''''''''de F''r''a''''nce'">
              <a:rPr lang="fr-FR" altLang="en-US" b="1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Couronne Ile de France</a:t>
            </a:fld>
            <a:endParaRPr lang="fr-FR" b="1">
              <a:latin typeface="+mn-lt"/>
            </a:endParaRPr>
          </a:p>
        </p:txBody>
      </p:sp>
      <p:sp>
        <p:nvSpPr>
          <p:cNvPr id="387" name="Espace réservé du texte 2">
            <a:extLst>
              <a:ext uri="{FF2B5EF4-FFF2-40B4-BE49-F238E27FC236}">
                <a16:creationId xmlns:a16="http://schemas.microsoft.com/office/drawing/2014/main" id="{574B20A7-7CB9-8056-3035-3302D896A6E6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10560050" y="2257425"/>
            <a:ext cx="4238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A53774F-6D4A-44AD-9962-88823CB86139}" type="datetime'''''''''''''''''''''''''''''''''''1''3'',''''''''''''''0'">
              <a:rPr lang="fr-FR" altLang="en-US" sz="1400" b="1" smtClean="0">
                <a:solidFill>
                  <a:schemeClr val="bg2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3,0</a:t>
            </a:fld>
            <a:endParaRPr lang="fr-FR" sz="1400" b="1">
              <a:solidFill>
                <a:schemeClr val="bg2"/>
              </a:solidFill>
            </a:endParaRPr>
          </a:p>
        </p:txBody>
      </p:sp>
      <p:sp>
        <p:nvSpPr>
          <p:cNvPr id="423" name="Espace réservé du texte 2">
            <a:extLst>
              <a:ext uri="{FF2B5EF4-FFF2-40B4-BE49-F238E27FC236}">
                <a16:creationId xmlns:a16="http://schemas.microsoft.com/office/drawing/2014/main" id="{23422F18-479F-4CA1-20DE-D90998B3D81F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10560050" y="2601913"/>
            <a:ext cx="4222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9E29BA3-95F8-4A6B-80BD-72C74AA2BDED}" type="datetime'''10'''''''''''''''''''',''''''''8'">
              <a:rPr lang="fr-FR" altLang="en-US" sz="1400" b="1" smtClean="0">
                <a:solidFill>
                  <a:schemeClr val="bg2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,8</a:t>
            </a:fld>
            <a:endParaRPr lang="fr-FR" sz="1400" b="1">
              <a:solidFill>
                <a:schemeClr val="bg2"/>
              </a:solidFill>
            </a:endParaRPr>
          </a:p>
        </p:txBody>
      </p:sp>
      <p:sp>
        <p:nvSpPr>
          <p:cNvPr id="392" name="Espace réservé du texte 2">
            <a:extLst>
              <a:ext uri="{FF2B5EF4-FFF2-40B4-BE49-F238E27FC236}">
                <a16:creationId xmlns:a16="http://schemas.microsoft.com/office/drawing/2014/main" id="{5FE4DA91-111E-4960-2B4B-09C935CF667B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10560050" y="2947988"/>
            <a:ext cx="4222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CB6B171-50DE-4928-A1D1-59352054BF0C}" type="datetime'''1''''''''''''''''''''''''''''''''0'''''',''5'''''''">
              <a:rPr lang="fr-FR" altLang="en-US" sz="1400" b="1" smtClean="0">
                <a:solidFill>
                  <a:schemeClr val="bg2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,5</a:t>
            </a:fld>
            <a:endParaRPr lang="fr-FR" sz="1400" b="1">
              <a:solidFill>
                <a:schemeClr val="bg2"/>
              </a:solidFill>
            </a:endParaRPr>
          </a:p>
        </p:txBody>
      </p:sp>
      <p:sp>
        <p:nvSpPr>
          <p:cNvPr id="457" name="Espace réservé du texte 2">
            <a:extLst>
              <a:ext uri="{FF2B5EF4-FFF2-40B4-BE49-F238E27FC236}">
                <a16:creationId xmlns:a16="http://schemas.microsoft.com/office/drawing/2014/main" id="{7DE96488-CD2D-06AC-5644-3375FD3398A3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10560050" y="3294063"/>
            <a:ext cx="381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FD6F4CD-EFC8-432F-A568-66C1DE27D476}" type="datetime'''''''''''''1''''''''''''''''''''0'',''''''''''''1'''''''''">
              <a:rPr lang="fr-FR" altLang="en-US" sz="1400" b="1" smtClean="0">
                <a:solidFill>
                  <a:schemeClr val="bg2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,1</a:t>
            </a:fld>
            <a:endParaRPr lang="fr-FR" sz="1400" b="1">
              <a:solidFill>
                <a:schemeClr val="bg2"/>
              </a:solidFill>
            </a:endParaRPr>
          </a:p>
        </p:txBody>
      </p:sp>
      <p:sp>
        <p:nvSpPr>
          <p:cNvPr id="418" name="Espace réservé du texte 2">
            <a:extLst>
              <a:ext uri="{FF2B5EF4-FFF2-40B4-BE49-F238E27FC236}">
                <a16:creationId xmlns:a16="http://schemas.microsoft.com/office/drawing/2014/main" id="{42EF2F5C-2D23-E60C-3BF0-F571D961F4ED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10560050" y="3638550"/>
            <a:ext cx="330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F041FA8-9491-4304-93AE-228BDA0328AD}" type="datetime'''''''''''''9'''''''''''''''''',''''''''2'''''''''''''''''">
              <a:rPr lang="fr-FR" altLang="en-US" sz="1400" b="1" smtClean="0">
                <a:solidFill>
                  <a:schemeClr val="bg2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,2</a:t>
            </a:fld>
            <a:endParaRPr lang="fr-FR" sz="1400" b="1">
              <a:solidFill>
                <a:schemeClr val="bg2"/>
              </a:solidFill>
            </a:endParaRPr>
          </a:p>
        </p:txBody>
      </p:sp>
      <p:sp>
        <p:nvSpPr>
          <p:cNvPr id="463" name="Espace réservé du texte 2">
            <a:extLst>
              <a:ext uri="{FF2B5EF4-FFF2-40B4-BE49-F238E27FC236}">
                <a16:creationId xmlns:a16="http://schemas.microsoft.com/office/drawing/2014/main" id="{C7A44F2C-E98A-20A6-B1CE-7AFFFF02C23D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0560050" y="3984625"/>
            <a:ext cx="331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6EB3BEA-AE59-4741-8D94-E09E964A75A5}" type="datetime'''''''''''8'''''''''''''''',6'''''''''''">
              <a:rPr lang="fr-FR" altLang="en-US" sz="1400" b="1" smtClean="0">
                <a:solidFill>
                  <a:schemeClr val="bg2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,6</a:t>
            </a:fld>
            <a:endParaRPr lang="fr-FR" sz="1400" b="1">
              <a:solidFill>
                <a:schemeClr val="bg2"/>
              </a:solidFill>
            </a:endParaRPr>
          </a:p>
        </p:txBody>
      </p:sp>
      <p:sp>
        <p:nvSpPr>
          <p:cNvPr id="429" name="Espace réservé du texte 2">
            <a:extLst>
              <a:ext uri="{FF2B5EF4-FFF2-40B4-BE49-F238E27FC236}">
                <a16:creationId xmlns:a16="http://schemas.microsoft.com/office/drawing/2014/main" id="{201C935E-9E3B-9C8F-BDC7-818AF8AA1162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10533063" y="4329113"/>
            <a:ext cx="331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DEB378B-1291-4991-B0D8-3A2D792B16B4}" type="datetime'''''''''''''8'''',5'''''''''''''''''''''''''''''''''''''''">
              <a:rPr lang="fr-FR" altLang="en-US" sz="1400" b="1" smtClean="0">
                <a:solidFill>
                  <a:schemeClr val="bg2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,5</a:t>
            </a:fld>
            <a:endParaRPr lang="fr-FR" sz="1400" b="1">
              <a:solidFill>
                <a:schemeClr val="bg2"/>
              </a:solidFill>
            </a:endParaRPr>
          </a:p>
        </p:txBody>
      </p:sp>
      <p:sp>
        <p:nvSpPr>
          <p:cNvPr id="397" name="Espace réservé du texte 2">
            <a:extLst>
              <a:ext uri="{FF2B5EF4-FFF2-40B4-BE49-F238E27FC236}">
                <a16:creationId xmlns:a16="http://schemas.microsoft.com/office/drawing/2014/main" id="{D4708EBC-07AA-6252-7CDB-1C42344018EC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10560050" y="4675188"/>
            <a:ext cx="301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81B98FD-8FC1-4A6E-B1E9-82267408761E}" type="datetime'''''''''''7'',''2'''''''''''''''''''''''''''''''">
              <a:rPr lang="fr-FR" altLang="en-US" sz="1400" b="1" smtClean="0">
                <a:solidFill>
                  <a:schemeClr val="bg2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,2</a:t>
            </a:fld>
            <a:endParaRPr lang="fr-FR" sz="1400" b="1">
              <a:solidFill>
                <a:schemeClr val="bg2"/>
              </a:solidFill>
            </a:endParaRPr>
          </a:p>
        </p:txBody>
      </p:sp>
      <p:sp>
        <p:nvSpPr>
          <p:cNvPr id="477" name="Espace réservé du texte 2">
            <a:extLst>
              <a:ext uri="{FF2B5EF4-FFF2-40B4-BE49-F238E27FC236}">
                <a16:creationId xmlns:a16="http://schemas.microsoft.com/office/drawing/2014/main" id="{E24E4C22-68DB-9DC7-1195-DE2325A03653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10560050" y="5021263"/>
            <a:ext cx="301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C1D3768-975A-4481-9502-D1AF435ACE02}" type="datetime'7'''''''''',''''''''''''''''2'''''''''''''''''''''''''''''">
              <a:rPr lang="fr-FR" altLang="en-US" sz="1400" b="1" smtClean="0">
                <a:solidFill>
                  <a:schemeClr val="bg2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,2</a:t>
            </a:fld>
            <a:endParaRPr lang="fr-FR" sz="1400" b="1">
              <a:solidFill>
                <a:schemeClr val="bg2"/>
              </a:solidFill>
            </a:endParaRPr>
          </a:p>
        </p:txBody>
      </p:sp>
      <p:sp>
        <p:nvSpPr>
          <p:cNvPr id="508" name="Espace réservé du texte 2">
            <a:extLst>
              <a:ext uri="{FF2B5EF4-FFF2-40B4-BE49-F238E27FC236}">
                <a16:creationId xmlns:a16="http://schemas.microsoft.com/office/drawing/2014/main" id="{15B5F9C8-9ACF-7EC5-258D-6453CE8A721B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10560050" y="5365750"/>
            <a:ext cx="3349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368B498-C6A0-4542-906A-F10BE9967861}" type="datetime'''''''''''''''''4'''''''''',''''''''''''''''''''''''''''''6'">
              <a:rPr lang="fr-FR" altLang="en-US" sz="1400" b="1" smtClean="0">
                <a:solidFill>
                  <a:schemeClr val="bg2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,6</a:t>
            </a:fld>
            <a:endParaRPr lang="fr-FR" sz="1400" b="1">
              <a:solidFill>
                <a:schemeClr val="bg2"/>
              </a:solidFill>
            </a:endParaRPr>
          </a:p>
        </p:txBody>
      </p:sp>
      <p:sp>
        <p:nvSpPr>
          <p:cNvPr id="407" name="Espace réservé du texte 2">
            <a:extLst>
              <a:ext uri="{FF2B5EF4-FFF2-40B4-BE49-F238E27FC236}">
                <a16:creationId xmlns:a16="http://schemas.microsoft.com/office/drawing/2014/main" id="{DBA96E1F-08AB-1F99-F87A-DC0674E7B103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10560050" y="5711825"/>
            <a:ext cx="342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0A41595-D932-4D4B-9C97-2EDC4BFE5CC9}" type="datetime'''''''4'''''''''''''''''''''''',''''''4'''''''''''''''''">
              <a:rPr lang="fr-FR" altLang="en-US" sz="1400" b="1" smtClean="0">
                <a:solidFill>
                  <a:schemeClr val="bg2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,4</a:t>
            </a:fld>
            <a:endParaRPr lang="fr-FR" sz="1400" b="1">
              <a:solidFill>
                <a:schemeClr val="bg2"/>
              </a:solidFill>
            </a:endParaRPr>
          </a:p>
        </p:txBody>
      </p:sp>
      <p:sp>
        <p:nvSpPr>
          <p:cNvPr id="11" name="Espace réservé du texte 4">
            <a:extLst>
              <a:ext uri="{FF2B5EF4-FFF2-40B4-BE49-F238E27FC236}">
                <a16:creationId xmlns:a16="http://schemas.microsoft.com/office/drawing/2014/main" id="{4DD1F263-9DD1-3204-1C79-70B8296FEC8C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2097088" y="5365750"/>
            <a:ext cx="14716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9DC780E7-D7F1-4FE0-9DD0-133D78183D95}" type="datetime'''Pa''''ris'' In''''''''''t''''r''''a ''''mur''''''''''os'''">
              <a:rPr lang="fr-FR" altLang="en-US" b="1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Paris Intra muros</a:t>
            </a:fld>
            <a:endParaRPr lang="fr-FR" b="1">
              <a:latin typeface="+mn-lt"/>
            </a:endParaRPr>
          </a:p>
        </p:txBody>
      </p:sp>
      <p:sp>
        <p:nvSpPr>
          <p:cNvPr id="96" name="ZoneTexte 95">
            <a:extLst>
              <a:ext uri="{FF2B5EF4-FFF2-40B4-BE49-F238E27FC236}">
                <a16:creationId xmlns:a16="http://schemas.microsoft.com/office/drawing/2014/main" id="{53BC53F3-C057-ECC1-26A4-E8AD6338BDDF}"/>
              </a:ext>
            </a:extLst>
          </p:cNvPr>
          <p:cNvSpPr txBox="1"/>
          <p:nvPr/>
        </p:nvSpPr>
        <p:spPr>
          <a:xfrm>
            <a:off x="10541001" y="1925722"/>
            <a:ext cx="91563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50" b="1">
                <a:solidFill>
                  <a:schemeClr val="bg2"/>
                </a:solidFill>
              </a:rPr>
              <a:t>km/séanc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8004B7D-AD0D-44D7-2EE5-35D7EFCE3C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B5A6716-DBF2-AF4C-9665-1BA53E8D7A19}" type="slidenum">
              <a:rPr lang="fr-FR" smtClean="0"/>
              <a:pPr/>
              <a:t>16</a:t>
            </a:fld>
            <a:endParaRPr lang="fr-FR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C47D6D8-4A27-C3AA-B2C0-33203D20EE04}"/>
              </a:ext>
            </a:extLst>
          </p:cNvPr>
          <p:cNvSpPr txBox="1">
            <a:spLocks/>
          </p:cNvSpPr>
          <p:nvPr/>
        </p:nvSpPr>
        <p:spPr>
          <a:xfrm>
            <a:off x="536574" y="314960"/>
            <a:ext cx="11115675" cy="8964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500">
                <a:solidFill>
                  <a:schemeClr val="accent1">
                    <a:lumMod val="40000"/>
                    <a:lumOff val="60000"/>
                  </a:schemeClr>
                </a:solidFill>
              </a:rPr>
              <a:t>Zoom sur les déplacements patientèle | </a:t>
            </a:r>
            <a:r>
              <a:rPr lang="fr-FR" sz="2500"/>
              <a:t>Hormis Paris intramuros, la mobilité de la patientèle reste assez uniforme, tant en distance qu’en en modes de transport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850395E-9673-EE71-24EB-12932C64E80B}"/>
              </a:ext>
            </a:extLst>
          </p:cNvPr>
          <p:cNvSpPr txBox="1">
            <a:spLocks/>
          </p:cNvSpPr>
          <p:nvPr/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5A6716-DBF2-AF4C-9665-1BA53E8D7A19}" type="slidenum">
              <a:rPr lang="fr-FR" smtClean="0"/>
              <a:pPr/>
              <a:t>16</a:t>
            </a:fld>
            <a:endParaRPr lang="fr-FR"/>
          </a:p>
        </p:txBody>
      </p:sp>
      <p:sp>
        <p:nvSpPr>
          <p:cNvPr id="671" name="Rectangle 670">
            <a:extLst>
              <a:ext uri="{FF2B5EF4-FFF2-40B4-BE49-F238E27FC236}">
                <a16:creationId xmlns:a16="http://schemas.microsoft.com/office/drawing/2014/main" id="{C940D501-28AE-E3D1-1457-E07371528C7D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7019925" y="6051550"/>
            <a:ext cx="250825" cy="187325"/>
          </a:xfrm>
          <a:prstGeom prst="rect">
            <a:avLst/>
          </a:prstGeom>
          <a:solidFill>
            <a:srgbClr val="D84C4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7" name="Rectangle 666">
            <a:extLst>
              <a:ext uri="{FF2B5EF4-FFF2-40B4-BE49-F238E27FC236}">
                <a16:creationId xmlns:a16="http://schemas.microsoft.com/office/drawing/2014/main" id="{83157859-E273-DCDE-7C29-89B1DD7CEC3A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3765550" y="605155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74" name="Rectangle 673">
            <a:extLst>
              <a:ext uri="{FF2B5EF4-FFF2-40B4-BE49-F238E27FC236}">
                <a16:creationId xmlns:a16="http://schemas.microsoft.com/office/drawing/2014/main" id="{3B4EDB27-BB1C-1CB8-9F74-A7DC06EA4EFD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8188325" y="6305550"/>
            <a:ext cx="250825" cy="187325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8" name="Rectangle 667">
            <a:extLst>
              <a:ext uri="{FF2B5EF4-FFF2-40B4-BE49-F238E27FC236}">
                <a16:creationId xmlns:a16="http://schemas.microsoft.com/office/drawing/2014/main" id="{5A133215-D0CE-0EBB-8483-D4AB810E395A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3765550" y="6305550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73" name="Rectangle 672">
            <a:extLst>
              <a:ext uri="{FF2B5EF4-FFF2-40B4-BE49-F238E27FC236}">
                <a16:creationId xmlns:a16="http://schemas.microsoft.com/office/drawing/2014/main" id="{01FDE19B-DA58-DFE4-9C92-B4BF9D6927AA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8188325" y="6051550"/>
            <a:ext cx="250825" cy="187325"/>
          </a:xfrm>
          <a:prstGeom prst="rect">
            <a:avLst/>
          </a:prstGeom>
          <a:solidFill>
            <a:srgbClr val="C30C3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9" name="Rectangle 668">
            <a:extLst>
              <a:ext uri="{FF2B5EF4-FFF2-40B4-BE49-F238E27FC236}">
                <a16:creationId xmlns:a16="http://schemas.microsoft.com/office/drawing/2014/main" id="{05417A96-EA56-31C9-1F48-BDAA2AA87990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5665788" y="6051550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72" name="Rectangle 671">
            <a:extLst>
              <a:ext uri="{FF2B5EF4-FFF2-40B4-BE49-F238E27FC236}">
                <a16:creationId xmlns:a16="http://schemas.microsoft.com/office/drawing/2014/main" id="{453D30D7-3233-560E-2241-AB61678A53E6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7019925" y="6305550"/>
            <a:ext cx="250825" cy="187325"/>
          </a:xfrm>
          <a:prstGeom prst="rect">
            <a:avLst/>
          </a:prstGeom>
          <a:solidFill>
            <a:srgbClr val="AA3B3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70" name="Rectangle 669">
            <a:extLst>
              <a:ext uri="{FF2B5EF4-FFF2-40B4-BE49-F238E27FC236}">
                <a16:creationId xmlns:a16="http://schemas.microsoft.com/office/drawing/2014/main" id="{BBB3B8DA-A7DC-6F46-9600-39887C4DA376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5665788" y="6305550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75" name="Rectangle 674">
            <a:extLst>
              <a:ext uri="{FF2B5EF4-FFF2-40B4-BE49-F238E27FC236}">
                <a16:creationId xmlns:a16="http://schemas.microsoft.com/office/drawing/2014/main" id="{32F36A7B-CF29-FDDA-9E6B-987BDB4AAAB3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8926513" y="6051550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2" name="Espace réservé du texte 2">
            <a:extLst>
              <a:ext uri="{FF2B5EF4-FFF2-40B4-BE49-F238E27FC236}">
                <a16:creationId xmlns:a16="http://schemas.microsoft.com/office/drawing/2014/main" id="{14B005FA-AA0B-4FF9-B99F-ED357F3ED164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7321550" y="6062663"/>
            <a:ext cx="4968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911AF2-0207-4FF0-A5C7-87965D8CBE56}" type="datetime'''Mé''''t''r''''''''''''''''''''''''o'''''''''''''''''''''''">
              <a:rPr lang="fr-F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étro</a:t>
            </a:fld>
            <a:endParaRPr lang="fr-FR" sz="1400"/>
          </a:p>
        </p:txBody>
      </p:sp>
      <p:sp>
        <p:nvSpPr>
          <p:cNvPr id="227" name="Espace réservé du texte 2">
            <a:extLst>
              <a:ext uri="{FF2B5EF4-FFF2-40B4-BE49-F238E27FC236}">
                <a16:creationId xmlns:a16="http://schemas.microsoft.com/office/drawing/2014/main" id="{612A1CF1-A5F3-E88B-92DF-44F6E5DEC027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7321550" y="6316663"/>
            <a:ext cx="7651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BED3C86-3ACD-48E0-ADFC-05B9306C6FFA}" type="datetime'T''r''''''a''m''''''w''a''''''''''y'''''''''''''''">
              <a:rPr lang="fr-F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ramway</a:t>
            </a:fld>
            <a:endParaRPr lang="fr-FR" sz="1400"/>
          </a:p>
        </p:txBody>
      </p:sp>
      <p:sp>
        <p:nvSpPr>
          <p:cNvPr id="63" name="Espace réservé du texte 2">
            <a:extLst>
              <a:ext uri="{FF2B5EF4-FFF2-40B4-BE49-F238E27FC236}">
                <a16:creationId xmlns:a16="http://schemas.microsoft.com/office/drawing/2014/main" id="{EB1FA0C7-4166-3475-BD9E-75DD9120EEE2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5967413" y="6316663"/>
            <a:ext cx="312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BD35EB1-F597-4C3A-BB29-A118F03AEAB5}" type="datetime'''''B''''''''''''''u''''''''''''''''s'''''''''''''''''''''''">
              <a:rPr lang="fr-F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us</a:t>
            </a:fld>
            <a:endParaRPr lang="fr-FR" sz="1400"/>
          </a:p>
        </p:txBody>
      </p:sp>
      <p:sp>
        <p:nvSpPr>
          <p:cNvPr id="61" name="Espace réservé du texte 2">
            <a:extLst>
              <a:ext uri="{FF2B5EF4-FFF2-40B4-BE49-F238E27FC236}">
                <a16:creationId xmlns:a16="http://schemas.microsoft.com/office/drawing/2014/main" id="{D5E6FE65-DC32-B7A2-686D-2735808C0111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auto">
          <a:xfrm>
            <a:off x="8489950" y="6062663"/>
            <a:ext cx="3349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E307A6-E9FE-4DB1-9144-A55B2855DAD5}" type="datetime'''''''''''R''''E''''''''''''''''''''''''R'''''''''">
              <a:rPr lang="fr-F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R</a:t>
            </a:fld>
            <a:endParaRPr lang="fr-FR" sz="1400"/>
          </a:p>
        </p:txBody>
      </p:sp>
      <p:sp>
        <p:nvSpPr>
          <p:cNvPr id="448" name="Espace réservé du texte 2">
            <a:extLst>
              <a:ext uri="{FF2B5EF4-FFF2-40B4-BE49-F238E27FC236}">
                <a16:creationId xmlns:a16="http://schemas.microsoft.com/office/drawing/2014/main" id="{3D99B420-2FCE-068F-0D17-AA73D47E7654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auto">
          <a:xfrm>
            <a:off x="5967413" y="6062663"/>
            <a:ext cx="950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A60F433-FB0C-4D5F-89C0-76939E4D40ED}" type="datetime'De''''''''''''''ux ''''r''o''''u''''''''''''''''e''s'''''">
              <a:rPr lang="fr-F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eux roues</a:t>
            </a:fld>
            <a:endParaRPr lang="fr-FR" sz="1400"/>
          </a:p>
        </p:txBody>
      </p:sp>
      <p:sp>
        <p:nvSpPr>
          <p:cNvPr id="60" name="Espace réservé du texte 2">
            <a:extLst>
              <a:ext uri="{FF2B5EF4-FFF2-40B4-BE49-F238E27FC236}">
                <a16:creationId xmlns:a16="http://schemas.microsoft.com/office/drawing/2014/main" id="{93CF57FC-ADB6-73BB-086A-44AA72465A95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8489950" y="6316663"/>
            <a:ext cx="3349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5CDB751-A35A-47B7-A1EB-0F262AB77B24}" type="datetime'''TE''''''''''''''''''''''R'''''''''''''">
              <a:rPr lang="fr-F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ER</a:t>
            </a:fld>
            <a:endParaRPr lang="fr-FR" sz="1400"/>
          </a:p>
        </p:txBody>
      </p:sp>
      <p:sp>
        <p:nvSpPr>
          <p:cNvPr id="178" name="Espace réservé du texte 2">
            <a:extLst>
              <a:ext uri="{FF2B5EF4-FFF2-40B4-BE49-F238E27FC236}">
                <a16:creationId xmlns:a16="http://schemas.microsoft.com/office/drawing/2014/main" id="{85B9EBA1-8962-723B-DEC1-B4D7C7694AE9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4067175" y="6316663"/>
            <a:ext cx="1482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7DEA516-6290-44EC-BF2D-9712428252DD}" type="datetime'''''Vo''i''tur''e'''''' ''él''''ec''''''''''''tr''''iqu''e'''">
              <a:rPr lang="fr-F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oiture électrique</a:t>
            </a:fld>
            <a:endParaRPr lang="fr-FR" sz="1400"/>
          </a:p>
        </p:txBody>
      </p:sp>
      <p:sp>
        <p:nvSpPr>
          <p:cNvPr id="57" name="Espace réservé du texte 2">
            <a:extLst>
              <a:ext uri="{FF2B5EF4-FFF2-40B4-BE49-F238E27FC236}">
                <a16:creationId xmlns:a16="http://schemas.microsoft.com/office/drawing/2014/main" id="{A9618FDF-27F8-7CE6-31F3-F03218B06469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9228138" y="6062663"/>
            <a:ext cx="12525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09481D5-373D-4DCF-983C-E4FE252E7D51}" type="datetime'''''''V''élo'' él''''e''''''c''t''riq''''''''''''''u''e'''''">
              <a:rPr lang="fr-F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élo électrique</a:t>
            </a:fld>
            <a:endParaRPr lang="fr-FR" sz="1400"/>
          </a:p>
        </p:txBody>
      </p:sp>
      <p:sp>
        <p:nvSpPr>
          <p:cNvPr id="154" name="Espace réservé du texte 2">
            <a:extLst>
              <a:ext uri="{FF2B5EF4-FFF2-40B4-BE49-F238E27FC236}">
                <a16:creationId xmlns:a16="http://schemas.microsoft.com/office/drawing/2014/main" id="{77F4F5BF-26C0-68A4-359D-F0570FB6377C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auto">
          <a:xfrm>
            <a:off x="4067175" y="6062663"/>
            <a:ext cx="1497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2C1A840-F4EE-4B40-B231-81E6F6332E95}" type="datetime'V''o''''''''''''''''''''''i''t''u''re ''thermi''q''u''''e'">
              <a:rPr lang="fr-F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oiture thermique</a:t>
            </a:fld>
            <a:endParaRPr lang="fr-FR" sz="1400"/>
          </a:p>
        </p:txBody>
      </p:sp>
      <p:cxnSp>
        <p:nvCxnSpPr>
          <p:cNvPr id="875" name="Connecteur droit 874">
            <a:extLst>
              <a:ext uri="{FF2B5EF4-FFF2-40B4-BE49-F238E27FC236}">
                <a16:creationId xmlns:a16="http://schemas.microsoft.com/office/drawing/2014/main" id="{BA234B52-3CD9-AC86-AFB6-5B5C4398994A}"/>
              </a:ext>
            </a:extLst>
          </p:cNvPr>
          <p:cNvCxnSpPr/>
          <p:nvPr/>
        </p:nvCxnSpPr>
        <p:spPr>
          <a:xfrm>
            <a:off x="10567988" y="2192296"/>
            <a:ext cx="814035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4" name="Flèche vers le bas 923">
            <a:extLst>
              <a:ext uri="{FF2B5EF4-FFF2-40B4-BE49-F238E27FC236}">
                <a16:creationId xmlns:a16="http://schemas.microsoft.com/office/drawing/2014/main" id="{B45B2CEB-1020-F832-8492-3E11E0093299}"/>
              </a:ext>
            </a:extLst>
          </p:cNvPr>
          <p:cNvSpPr/>
          <p:nvPr/>
        </p:nvSpPr>
        <p:spPr>
          <a:xfrm>
            <a:off x="11142482" y="2257425"/>
            <a:ext cx="239541" cy="3646488"/>
          </a:xfrm>
          <a:prstGeom prst="downArrow">
            <a:avLst/>
          </a:prstGeom>
          <a:gradFill flip="none" rotWithShape="1">
            <a:gsLst>
              <a:gs pos="1000">
                <a:schemeClr val="bg2">
                  <a:lumMod val="40000"/>
                  <a:lumOff val="60000"/>
                </a:schemeClr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927" name="Connecteur droit 926">
            <a:extLst>
              <a:ext uri="{FF2B5EF4-FFF2-40B4-BE49-F238E27FC236}">
                <a16:creationId xmlns:a16="http://schemas.microsoft.com/office/drawing/2014/main" id="{B68F88CB-DB52-7F4C-B417-A44102D7BEF5}"/>
              </a:ext>
            </a:extLst>
          </p:cNvPr>
          <p:cNvCxnSpPr>
            <a:cxnSpLocks/>
          </p:cNvCxnSpPr>
          <p:nvPr/>
        </p:nvCxnSpPr>
        <p:spPr>
          <a:xfrm>
            <a:off x="685800" y="1925722"/>
            <a:ext cx="1069622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9" name="ZoneTexte 928">
            <a:extLst>
              <a:ext uri="{FF2B5EF4-FFF2-40B4-BE49-F238E27FC236}">
                <a16:creationId xmlns:a16="http://schemas.microsoft.com/office/drawing/2014/main" id="{B400F520-7988-B334-23D9-5256B05107EF}"/>
              </a:ext>
            </a:extLst>
          </p:cNvPr>
          <p:cNvSpPr txBox="1"/>
          <p:nvPr/>
        </p:nvSpPr>
        <p:spPr>
          <a:xfrm>
            <a:off x="583735" y="1556390"/>
            <a:ext cx="107982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/>
              <a:t>Répartition modale en fonction de la distance et le type d’aire urbaine</a:t>
            </a:r>
            <a:r>
              <a:rPr lang="fr-FR" sz="1400" b="1" baseline="30000"/>
              <a:t>1</a:t>
            </a:r>
            <a:r>
              <a:rPr lang="fr-FR" sz="1400" b="1"/>
              <a:t> </a:t>
            </a:r>
            <a:r>
              <a:rPr lang="fr-FR" sz="1400"/>
              <a:t>(%, km/séance)</a:t>
            </a:r>
          </a:p>
        </p:txBody>
      </p:sp>
      <p:sp>
        <p:nvSpPr>
          <p:cNvPr id="932" name="Espace réservé du pied de page 3">
            <a:extLst>
              <a:ext uri="{FF2B5EF4-FFF2-40B4-BE49-F238E27FC236}">
                <a16:creationId xmlns:a16="http://schemas.microsoft.com/office/drawing/2014/main" id="{B0CE7D61-907C-0675-04C2-DBF522B1B363}"/>
              </a:ext>
            </a:extLst>
          </p:cNvPr>
          <p:cNvSpPr txBox="1">
            <a:spLocks/>
          </p:cNvSpPr>
          <p:nvPr/>
        </p:nvSpPr>
        <p:spPr>
          <a:xfrm>
            <a:off x="1270361" y="6179795"/>
            <a:ext cx="8499114" cy="40005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fr-FR"/>
            </a:defPPr>
            <a:lvl1pPr>
              <a:defRPr sz="1000" i="0">
                <a:solidFill>
                  <a:schemeClr val="bg2">
                    <a:lumMod val="75000"/>
                  </a:schemeClr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(1) Zonage en aires urbaines de 2010</a:t>
            </a:r>
          </a:p>
        </p:txBody>
      </p:sp>
    </p:spTree>
    <p:extLst>
      <p:ext uri="{BB962C8B-B14F-4D97-AF65-F5344CB8AC3E}">
        <p14:creationId xmlns:p14="http://schemas.microsoft.com/office/powerpoint/2010/main" val="23153600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0B0D55-69DB-D3B1-7FD2-4E65CF7F97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0EC77CB6-8308-B2E5-15E3-5FB9504BD5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7298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9" imgW="7772400" imgH="10058400" progId="TCLayout.ActiveDocument.1">
                  <p:embed/>
                </p:oleObj>
              </mc:Choice>
              <mc:Fallback>
                <p:oleObj name="Diapositive think-cell" r:id="rId49" imgW="7772400" imgH="10058400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C77CB6-8308-B2E5-15E3-5FB9504BD5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01" name="Connecteur droit 300">
            <a:extLst>
              <a:ext uri="{FF2B5EF4-FFF2-40B4-BE49-F238E27FC236}">
                <a16:creationId xmlns:a16="http://schemas.microsoft.com/office/drawing/2014/main" id="{FEA440FE-467C-A0A8-C4E4-69D294914ECF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7683500" y="3079750"/>
            <a:ext cx="1257300" cy="2301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3" name="Connecteur droit 342">
            <a:extLst>
              <a:ext uri="{FF2B5EF4-FFF2-40B4-BE49-F238E27FC236}">
                <a16:creationId xmlns:a16="http://schemas.microsoft.com/office/drawing/2014/main" id="{FADB7D48-774A-D8D4-FEAF-EB69A7ED47C7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7683500" y="2960689"/>
            <a:ext cx="1257300" cy="111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7" name="Connecteur droit 346">
            <a:extLst>
              <a:ext uri="{FF2B5EF4-FFF2-40B4-BE49-F238E27FC236}">
                <a16:creationId xmlns:a16="http://schemas.microsoft.com/office/drawing/2014/main" id="{289A0F34-79E2-FBD6-C358-8B2A60E9C9CA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7683500" y="3068638"/>
            <a:ext cx="1257300" cy="952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5" name="Connecteur droit 344">
            <a:extLst>
              <a:ext uri="{FF2B5EF4-FFF2-40B4-BE49-F238E27FC236}">
                <a16:creationId xmlns:a16="http://schemas.microsoft.com/office/drawing/2014/main" id="{3DF4EC16-B328-E9A8-A60F-4A1BBDFE7163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7683500" y="3024188"/>
            <a:ext cx="1257300" cy="23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9" name="Connecteur droit 348">
            <a:extLst>
              <a:ext uri="{FF2B5EF4-FFF2-40B4-BE49-F238E27FC236}">
                <a16:creationId xmlns:a16="http://schemas.microsoft.com/office/drawing/2014/main" id="{91DED314-32CA-9298-C4BE-456E30F600E5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7683500" y="3043238"/>
            <a:ext cx="1257300" cy="6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35" name="Chart 3">
            <a:extLst>
              <a:ext uri="{FF2B5EF4-FFF2-40B4-BE49-F238E27FC236}">
                <a16:creationId xmlns:a16="http://schemas.microsoft.com/office/drawing/2014/main" id="{91BEF402-8C6A-1AAC-40A4-A1617D1C5C9A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43037922"/>
              </p:ext>
            </p:extLst>
          </p:nvPr>
        </p:nvGraphicFramePr>
        <p:xfrm>
          <a:off x="5397500" y="2654300"/>
          <a:ext cx="5827713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cxnSp>
        <p:nvCxnSpPr>
          <p:cNvPr id="353" name="Connecteur droit 352">
            <a:extLst>
              <a:ext uri="{FF2B5EF4-FFF2-40B4-BE49-F238E27FC236}">
                <a16:creationId xmlns:a16="http://schemas.microsoft.com/office/drawing/2014/main" id="{0CC08C69-9D07-81A4-2C3C-0B4BC0537AE2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 flipV="1">
            <a:off x="10437813" y="3151187"/>
            <a:ext cx="98425" cy="968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7" name="Connecteur droit 336">
            <a:extLst>
              <a:ext uri="{FF2B5EF4-FFF2-40B4-BE49-F238E27FC236}">
                <a16:creationId xmlns:a16="http://schemas.microsoft.com/office/drawing/2014/main" id="{1F438BF5-E81E-AAAF-8311-FA06D3282390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 flipH="1" flipV="1">
            <a:off x="10437813" y="3033713"/>
            <a:ext cx="98425" cy="222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0" name="Espace réservé du texte 2">
            <a:extLst>
              <a:ext uri="{FF2B5EF4-FFF2-40B4-BE49-F238E27FC236}">
                <a16:creationId xmlns:a16="http://schemas.microsoft.com/office/drawing/2014/main" id="{33307DA0-A79F-6736-5CE7-6E3CCB592D93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6745288" y="2914650"/>
            <a:ext cx="303213" cy="192088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1B43BA-A9C2-48FF-8F43-DEF797CECCAD}" type="datetime'''''''''''5''''''''''''%''''''''''''''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255" name="Espace réservé du texte 2">
            <a:extLst>
              <a:ext uri="{FF2B5EF4-FFF2-40B4-BE49-F238E27FC236}">
                <a16:creationId xmlns:a16="http://schemas.microsoft.com/office/drawing/2014/main" id="{7A9A076B-537A-FEB6-4F6F-5E78CF0268E5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9180513" y="2897188"/>
            <a:ext cx="309563" cy="192088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A1E71B-76A6-4467-B84D-085F83A3C068}" type="datetime'4''''''%'''''''''''''''">
              <a:rPr lang="fr-F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335" name="Espace réservé du texte 2">
            <a:extLst>
              <a:ext uri="{FF2B5EF4-FFF2-40B4-BE49-F238E27FC236}">
                <a16:creationId xmlns:a16="http://schemas.microsoft.com/office/drawing/2014/main" id="{830B2B58-5D31-1EC7-887C-EFB13359132A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9967913" y="2994025"/>
            <a:ext cx="306388" cy="19208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F877CF-DD7E-492F-91DA-7A2CD1C1438C}" type="datetime'''''''''''''''''''''''''''''''''''''''''6''''''%'''''''">
              <a:rPr lang="fr-F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endParaRPr lang="fr-FR" sz="1400"/>
          </a:p>
        </p:txBody>
      </p:sp>
      <p:sp>
        <p:nvSpPr>
          <p:cNvPr id="134" name="Espace réservé du texte 2">
            <a:extLst>
              <a:ext uri="{FF2B5EF4-FFF2-40B4-BE49-F238E27FC236}">
                <a16:creationId xmlns:a16="http://schemas.microsoft.com/office/drawing/2014/main" id="{95EC7D3E-098F-4FD1-35AB-38EFC12B9420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5526088" y="4565650"/>
            <a:ext cx="27416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3B639F-1EBA-49E6-A4C2-967F69E9DE5D}" type="datetime'Ém''''is''''sions (%'','''' ''kgCO2e/''s''''é''an''''ce)'''''">
              <a:rPr lang="fr-FR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Émissions (%, kgCO2e/séance)</a:t>
            </a:fld>
            <a:endParaRPr lang="fr-FR" sz="1400" b="1"/>
          </a:p>
        </p:txBody>
      </p:sp>
      <p:sp>
        <p:nvSpPr>
          <p:cNvPr id="150" name="Espace réservé du texte 2">
            <a:extLst>
              <a:ext uri="{FF2B5EF4-FFF2-40B4-BE49-F238E27FC236}">
                <a16:creationId xmlns:a16="http://schemas.microsoft.com/office/drawing/2014/main" id="{1A1CACDE-F7B4-CA1D-A306-87ABCF65C863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8516937" y="4565650"/>
            <a:ext cx="2419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C27774-27DB-49FF-A756-26FCA7ABD18D}" type="datetime'''''Dista''n''ce'' ''(''''''%, ''''k''''m pa''r''''''courus)'">
              <a:rPr lang="fr-FR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istance (%, km parcourus)</a:t>
            </a:fld>
            <a:endParaRPr lang="fr-FR" sz="1400" b="1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FBB797BA-B41A-784C-6532-D704ADFCAC59}"/>
              </a:ext>
            </a:extLst>
          </p:cNvPr>
          <p:cNvSpPr/>
          <p:nvPr/>
        </p:nvSpPr>
        <p:spPr>
          <a:xfrm>
            <a:off x="474799" y="1576713"/>
            <a:ext cx="3588243" cy="4593177"/>
          </a:xfrm>
          <a:prstGeom prst="roundRect">
            <a:avLst>
              <a:gd name="adj" fmla="val 369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tabLst>
                <a:tab pos="431800" algn="l"/>
              </a:tabLst>
            </a:pPr>
            <a:r>
              <a:rPr lang="fr-FR" b="1">
                <a:solidFill>
                  <a:schemeClr val="tx2"/>
                </a:solidFill>
              </a:rPr>
              <a:t>Empreinte carbone d’une séance au cabinet                      </a:t>
            </a:r>
            <a:r>
              <a:rPr lang="fr-FR" sz="1400">
                <a:solidFill>
                  <a:schemeClr val="tx2"/>
                </a:solidFill>
              </a:rPr>
              <a:t>(% du total)</a:t>
            </a:r>
          </a:p>
        </p:txBody>
      </p:sp>
      <p:graphicFrame>
        <p:nvGraphicFramePr>
          <p:cNvPr id="29" name="Chart 3">
            <a:extLst>
              <a:ext uri="{FF2B5EF4-FFF2-40B4-BE49-F238E27FC236}">
                <a16:creationId xmlns:a16="http://schemas.microsoft.com/office/drawing/2014/main" id="{48568943-BA3F-58A1-5EF4-345307CFBB99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88099035"/>
              </p:ext>
            </p:extLst>
          </p:nvPr>
        </p:nvGraphicFramePr>
        <p:xfrm>
          <a:off x="815975" y="2085975"/>
          <a:ext cx="2768600" cy="3287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58E8F93F-26AF-96FD-0FE9-008FB7E5EAE1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V="1">
            <a:off x="2646363" y="2843214"/>
            <a:ext cx="442913" cy="4413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5F19A40B-1511-8C6F-B78A-508B8D33695E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V="1">
            <a:off x="2643188" y="2836863"/>
            <a:ext cx="441325" cy="4460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9" name="Espace réservé du texte 4">
            <a:extLst>
              <a:ext uri="{FF2B5EF4-FFF2-40B4-BE49-F238E27FC236}">
                <a16:creationId xmlns:a16="http://schemas.microsoft.com/office/drawing/2014/main" id="{9F0D5241-B3B2-54EF-3717-CC997F65CF6B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2728913" y="2770188"/>
            <a:ext cx="2778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E91872C7-6AC4-4E56-B334-3DA153476099}" type="datetime'''1''''''''''''''''%'''''''''''''''''''''''''''''''">
              <a:rPr lang="fr-FR" altLang="en-US" smtClean="0">
                <a:effectLst/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1%</a:t>
            </a:fld>
            <a:endParaRPr lang="fr-FR">
              <a:latin typeface="+mn-lt"/>
            </a:endParaRPr>
          </a:p>
        </p:txBody>
      </p:sp>
      <p:sp useBgFill="1">
        <p:nvSpPr>
          <p:cNvPr id="10" name="Espace réservé du texte 4">
            <a:extLst>
              <a:ext uri="{FF2B5EF4-FFF2-40B4-BE49-F238E27FC236}">
                <a16:creationId xmlns:a16="http://schemas.microsoft.com/office/drawing/2014/main" id="{79D32973-A391-8E8F-F811-280CD00399C6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2641600" y="2962275"/>
            <a:ext cx="3032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BF6D3815-74C7-4760-AEDC-EFEF7BB3D8CC}" type="datetime'''''''''''''''2''''''''''''%'''">
              <a:rPr lang="fr-FR" altLang="en-US" smtClean="0">
                <a:effectLst/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2%</a:t>
            </a:fld>
            <a:endParaRPr lang="fr-FR">
              <a:latin typeface="+mn-lt"/>
            </a:endParaRP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346E2FB-0B11-FAAB-E12C-B06B700B93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B5A6716-DBF2-AF4C-9665-1BA53E8D7A19}" type="slidenum">
              <a:rPr lang="fr-FR" smtClean="0"/>
              <a:pPr/>
              <a:t>17</a:t>
            </a:fld>
            <a:endParaRPr lang="fr-FR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960E26C-DD59-702E-80C9-0E4F5C4891BF}"/>
              </a:ext>
            </a:extLst>
          </p:cNvPr>
          <p:cNvSpPr txBox="1">
            <a:spLocks/>
          </p:cNvSpPr>
          <p:nvPr/>
        </p:nvSpPr>
        <p:spPr>
          <a:xfrm>
            <a:off x="536574" y="314960"/>
            <a:ext cx="11115675" cy="8964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500">
                <a:solidFill>
                  <a:schemeClr val="accent1">
                    <a:lumMod val="40000"/>
                    <a:lumOff val="60000"/>
                  </a:schemeClr>
                </a:solidFill>
              </a:rPr>
              <a:t>Zoom sur les déplacements des kinés | </a:t>
            </a:r>
            <a:r>
              <a:rPr lang="fr-FR" sz="2500"/>
              <a:t>Les kinésithérapeutes se déplacent majoritairement en voiture thermique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C927D0E4-F67E-31E2-E273-EF7052E3C8AD}"/>
              </a:ext>
            </a:extLst>
          </p:cNvPr>
          <p:cNvSpPr txBox="1">
            <a:spLocks/>
          </p:cNvSpPr>
          <p:nvPr/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5A6716-DBF2-AF4C-9665-1BA53E8D7A19}" type="slidenum">
              <a:rPr lang="fr-FR" smtClean="0"/>
              <a:pPr/>
              <a:t>17</a:t>
            </a:fld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1DBFF11-82A4-5F44-720C-91C5519AD90E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534988" y="5953125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4F9979E-0D79-20DB-9401-031C39488385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534988" y="5281613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4B18968-3538-5AED-26FE-B56627EED3F7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2249488" y="5505450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85AD2A2-05C4-B4AE-9FE8-33A1059F7AC8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534988" y="5505450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549D2FF-0746-5FDA-E21E-B29146F9C28A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2249488" y="5281613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98D80C-AB15-554F-FF87-01957E181099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534988" y="5729288"/>
            <a:ext cx="214313" cy="160338"/>
          </a:xfrm>
          <a:prstGeom prst="rect">
            <a:avLst/>
          </a:prstGeom>
          <a:solidFill>
            <a:srgbClr val="FFEDB9"/>
          </a:solidFill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073E99A-FA85-3A1E-B5FB-C28153B9ED01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2249488" y="5729288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52EFCB69-A919-CF89-5AEB-1DB4A1D0A894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800100" y="5961063"/>
            <a:ext cx="13477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D0F9ED62-BA88-4480-AAEC-81D7F9BF426B}" type="datetime'D''''é''''''p''''''''''la''ce''''''men''''ts pa''''t''''''.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Déplacements pat.</a:t>
            </a:fld>
            <a:endParaRPr lang="fr-FR" sz="1200">
              <a:latin typeface="+mn-lt"/>
            </a:endParaRP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6C6B1403-FF9F-9786-20A4-1FF1B45F611D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2514600" y="5289550"/>
            <a:ext cx="12271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B9C3BCFE-9489-4971-AFD8-86347300E263}" type="datetime'''''''E''n''ergi''e ''des'''''''' ''s''''i''t''''''es''''''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Energie des sites</a:t>
            </a:fld>
            <a:endParaRPr lang="fr-FR" sz="1200">
              <a:latin typeface="+mn-lt"/>
            </a:endParaRP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17B2C508-5D53-17A9-F7A5-BB23F1CF18EA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800100" y="5737225"/>
            <a:ext cx="13096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BF6C48DD-B8AB-4617-96F6-D0075AEE9B90}" type="datetime'Dé''''plac''e''ment''s'''''''' ''''p''''''''''''r''''''''''o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Déplacements pro</a:t>
            </a:fld>
            <a:endParaRPr lang="fr-FR" sz="1200">
              <a:latin typeface="+mn-lt"/>
            </a:endParaRP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EF85BB94-9C4D-0D14-5D49-C283D38023B0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2514600" y="5513388"/>
            <a:ext cx="5969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9604B305-1B0B-4AD2-A2E6-E2E624EA5AA2}" type="datetime'''''''''''''''''''''''D''''''''''''''''''é''ch''''e''ts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Déchets</a:t>
            </a:fld>
            <a:endParaRPr lang="fr-FR" sz="1200">
              <a:latin typeface="+mn-lt"/>
            </a:endParaRP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D9F15504-9453-6766-4E39-7D28EFA88589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800100" y="5513388"/>
            <a:ext cx="11144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921B3EAB-B5BC-4A28-B081-228FA53A233C}" type="datetime'''''''Im''mo''''bi''li''sa''''''''t''''i''''''''''''ons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Immobilisations</a:t>
            </a:fld>
            <a:endParaRPr lang="fr-FR" sz="1200">
              <a:latin typeface="+mn-lt"/>
            </a:endParaRP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2CBB8925-3AD7-54D1-2475-9158D7D84DCD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2514600" y="5737225"/>
            <a:ext cx="11096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08816069-0F59-460D-87DA-13EF8F8D4C88}" type="datetime'''Ga''z'' ''f''ri''g''''o''''r''i''''''g''èn''''''''e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Gaz frigorigène</a:t>
            </a:fld>
            <a:endParaRPr lang="fr-FR" sz="1200">
              <a:latin typeface="+mn-lt"/>
            </a:endParaRP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54AF06B0-8E6C-66B1-1E80-BBC1F5067CEB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800100" y="5289550"/>
            <a:ext cx="498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1C4B9678-1CA9-4E20-8034-FB838C2F3B42}" type="datetime'''''''''''''''A''''cha''''''''''''''''''''''''t''''''s''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Achats</a:t>
            </a:fld>
            <a:endParaRPr lang="fr-FR" sz="1200">
              <a:latin typeface="+mn-lt"/>
            </a:endParaRPr>
          </a:p>
        </p:txBody>
      </p:sp>
      <p:pic>
        <p:nvPicPr>
          <p:cNvPr id="25" name="Graphique 24" descr="Ligne fléchée : incurvée sens des aiguilles d’une montre avec un remplissage uni">
            <a:extLst>
              <a:ext uri="{FF2B5EF4-FFF2-40B4-BE49-F238E27FC236}">
                <a16:creationId xmlns:a16="http://schemas.microsoft.com/office/drawing/2014/main" id="{68F08899-C230-CA3F-27BD-DCB360060211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 rot="6518642">
            <a:off x="3557761" y="1864390"/>
            <a:ext cx="763922" cy="1422181"/>
          </a:xfrm>
          <a:prstGeom prst="rect">
            <a:avLst/>
          </a:prstGeom>
        </p:spPr>
      </p:pic>
      <p:pic>
        <p:nvPicPr>
          <p:cNvPr id="26" name="Picture 3" descr="loupe icon">
            <a:extLst>
              <a:ext uri="{FF2B5EF4-FFF2-40B4-BE49-F238E27FC236}">
                <a16:creationId xmlns:a16="http://schemas.microsoft.com/office/drawing/2014/main" id="{F9851FDB-E8A6-7293-EFAE-835252DBC3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8521" y="2587341"/>
            <a:ext cx="632957" cy="632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Arc plein 26">
            <a:extLst>
              <a:ext uri="{FF2B5EF4-FFF2-40B4-BE49-F238E27FC236}">
                <a16:creationId xmlns:a16="http://schemas.microsoft.com/office/drawing/2014/main" id="{03F2AB6B-7828-DB0A-4459-E13A21B342FA}"/>
              </a:ext>
            </a:extLst>
          </p:cNvPr>
          <p:cNvSpPr/>
          <p:nvPr/>
        </p:nvSpPr>
        <p:spPr>
          <a:xfrm rot="19896231">
            <a:off x="895046" y="2464958"/>
            <a:ext cx="2623405" cy="2550796"/>
          </a:xfrm>
          <a:prstGeom prst="blockArc">
            <a:avLst>
              <a:gd name="adj1" fmla="val 6219830"/>
              <a:gd name="adj2" fmla="val 8597827"/>
              <a:gd name="adj3" fmla="val 27716"/>
            </a:avLst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</a:pPr>
            <a:endParaRPr lang="fr-FR" sz="140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7933D4EE-4BE0-D9CD-3A46-92D64CBD6590}"/>
              </a:ext>
            </a:extLst>
          </p:cNvPr>
          <p:cNvSpPr txBox="1"/>
          <p:nvPr/>
        </p:nvSpPr>
        <p:spPr>
          <a:xfrm>
            <a:off x="6319940" y="2454245"/>
            <a:ext cx="1163780" cy="40011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1400" b="1"/>
              <a:t>0,35 </a:t>
            </a:r>
          </a:p>
          <a:p>
            <a:pPr algn="ctr"/>
            <a:r>
              <a:rPr lang="fr-FR" sz="1200"/>
              <a:t>kgCO</a:t>
            </a:r>
            <a:r>
              <a:rPr lang="fr-FR" sz="1200" baseline="-25000"/>
              <a:t>2</a:t>
            </a:r>
            <a:r>
              <a:rPr lang="fr-FR" sz="1200"/>
              <a:t>e/séance</a:t>
            </a:r>
          </a:p>
        </p:txBody>
      </p:sp>
      <p:sp>
        <p:nvSpPr>
          <p:cNvPr id="31" name="Rectangle : coins arrondis 30">
            <a:extLst>
              <a:ext uri="{FF2B5EF4-FFF2-40B4-BE49-F238E27FC236}">
                <a16:creationId xmlns:a16="http://schemas.microsoft.com/office/drawing/2014/main" id="{F265AB20-C04A-6681-9E35-D4091B366445}"/>
              </a:ext>
            </a:extLst>
          </p:cNvPr>
          <p:cNvSpPr/>
          <p:nvPr/>
        </p:nvSpPr>
        <p:spPr>
          <a:xfrm>
            <a:off x="4932547" y="1576713"/>
            <a:ext cx="6719701" cy="721644"/>
          </a:xfrm>
          <a:prstGeom prst="roundRect">
            <a:avLst>
              <a:gd name="adj" fmla="val 22816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tabLst>
                <a:tab pos="431800" algn="l"/>
              </a:tabLst>
            </a:pPr>
            <a:r>
              <a:rPr lang="fr-FR" b="1">
                <a:solidFill>
                  <a:schemeClr val="accent6"/>
                </a:solidFill>
              </a:rPr>
              <a:t>Déplacements professionnels </a:t>
            </a:r>
          </a:p>
          <a:p>
            <a:pPr>
              <a:lnSpc>
                <a:spcPct val="90000"/>
              </a:lnSpc>
              <a:spcBef>
                <a:spcPts val="900"/>
              </a:spcBef>
              <a:buClr>
                <a:srgbClr val="FF554B"/>
              </a:buClr>
              <a:buSzPct val="100000"/>
              <a:tabLst>
                <a:tab pos="431800" algn="l"/>
              </a:tabLst>
            </a:pPr>
            <a:r>
              <a:rPr lang="fr-FR" sz="1400">
                <a:solidFill>
                  <a:schemeClr val="accent6"/>
                </a:solidFill>
              </a:rPr>
              <a:t>(% des émissions, % de la distance)</a:t>
            </a: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00837520-40D2-EA48-DE0C-5897A52299C7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7048500" y="5403850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9" name="Rectangle 268">
            <a:extLst>
              <a:ext uri="{FF2B5EF4-FFF2-40B4-BE49-F238E27FC236}">
                <a16:creationId xmlns:a16="http://schemas.microsoft.com/office/drawing/2014/main" id="{F17B20E1-E704-F0F5-9ABA-2F3D40614B2F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5014913" y="514985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89EE4D59-7745-8EB5-3282-A10979105948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9394825" y="5403850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93286F78-DD63-C809-322F-6AD80F7E008C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5014913" y="5403850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3E9046F5-ECA0-CF56-C228-9FF6A52C60DA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9394825" y="5149850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8D90ADC9-CDF2-56C9-8E36-7D668A49F0B1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7048500" y="5149850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6" name="Rectangle 275">
            <a:extLst>
              <a:ext uri="{FF2B5EF4-FFF2-40B4-BE49-F238E27FC236}">
                <a16:creationId xmlns:a16="http://schemas.microsoft.com/office/drawing/2014/main" id="{C11C957F-A649-F8AC-ED8A-1BAA0B115EC9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10217150" y="5149850"/>
            <a:ext cx="250825" cy="187325"/>
          </a:xfrm>
          <a:prstGeom prst="rect">
            <a:avLst/>
          </a:prstGeom>
          <a:solidFill>
            <a:srgbClr val="C30C3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6" name="Espace réservé du texte 2">
            <a:extLst>
              <a:ext uri="{FF2B5EF4-FFF2-40B4-BE49-F238E27FC236}">
                <a16:creationId xmlns:a16="http://schemas.microsoft.com/office/drawing/2014/main" id="{893D72A9-F65B-83DF-DBD1-D2F1CF19D9A9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7350125" y="5414963"/>
            <a:ext cx="1943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B56FC4B-B88C-4098-9E79-950E5B75D542}" type="datetime'T''r''an''s''p''o''r''''''''ts ''en'''' ''''c''o''mmu''''n'''">
              <a:rPr lang="fr-F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ransports en commun</a:t>
            </a:fld>
            <a:endParaRPr lang="fr-FR" sz="1400"/>
          </a:p>
        </p:txBody>
      </p:sp>
      <p:sp>
        <p:nvSpPr>
          <p:cNvPr id="166" name="Espace réservé du texte 2">
            <a:extLst>
              <a:ext uri="{FF2B5EF4-FFF2-40B4-BE49-F238E27FC236}">
                <a16:creationId xmlns:a16="http://schemas.microsoft.com/office/drawing/2014/main" id="{52912D2C-E85E-2554-3213-68F0DA51DC82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auto">
          <a:xfrm>
            <a:off x="9696450" y="5160963"/>
            <a:ext cx="419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65C8216-2C42-468E-AFA1-94524CDAAF9F}" type="datetime'''T''r''''''''''''''a''i''''''''''''''''''n'''''''''''">
              <a:rPr lang="fr-F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rain</a:t>
            </a:fld>
            <a:endParaRPr lang="fr-FR" sz="1400"/>
          </a:p>
        </p:txBody>
      </p:sp>
      <p:sp>
        <p:nvSpPr>
          <p:cNvPr id="161" name="Espace réservé du texte 2">
            <a:extLst>
              <a:ext uri="{FF2B5EF4-FFF2-40B4-BE49-F238E27FC236}">
                <a16:creationId xmlns:a16="http://schemas.microsoft.com/office/drawing/2014/main" id="{BF58766A-3180-3606-3D84-44924C4D9573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auto">
          <a:xfrm>
            <a:off x="7350125" y="5160963"/>
            <a:ext cx="950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A34EE3B-788D-41E0-9919-DEC3D4330C42}" type="datetime'D''''''''e''''ux ''''''r''''''''''oue''''''''''''''''s'''''">
              <a:rPr lang="fr-F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eux roues</a:t>
            </a:fld>
            <a:endParaRPr lang="fr-FR" sz="1400"/>
          </a:p>
        </p:txBody>
      </p:sp>
      <p:sp>
        <p:nvSpPr>
          <p:cNvPr id="168" name="Espace réservé du texte 2">
            <a:extLst>
              <a:ext uri="{FF2B5EF4-FFF2-40B4-BE49-F238E27FC236}">
                <a16:creationId xmlns:a16="http://schemas.microsoft.com/office/drawing/2014/main" id="{B7059306-9C34-5D23-AE96-348A84BD125B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9696450" y="5414963"/>
            <a:ext cx="3635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013D035-A88C-492E-8DAF-D4E9CF908C02}" type="datetime'''''''V''''''''él''''''''''''''''''''''''''''''''''o'''''''">
              <a:rPr lang="fr-F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élo</a:t>
            </a:fld>
            <a:endParaRPr lang="fr-FR" sz="1400"/>
          </a:p>
        </p:txBody>
      </p:sp>
      <p:sp>
        <p:nvSpPr>
          <p:cNvPr id="140" name="Espace réservé du texte 2">
            <a:extLst>
              <a:ext uri="{FF2B5EF4-FFF2-40B4-BE49-F238E27FC236}">
                <a16:creationId xmlns:a16="http://schemas.microsoft.com/office/drawing/2014/main" id="{15900098-F65F-EF7A-9EBF-18384FC39740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5316538" y="5414963"/>
            <a:ext cx="16113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E02CBD-0541-42F8-8310-0A409D40C41E}" type="datetime'V''oitur''''e - ''é''''''''le''''ct''''r''i''c''i''''''té'''">
              <a:rPr lang="fr-F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oiture - électricité</a:t>
            </a:fld>
            <a:endParaRPr lang="fr-FR" sz="1400"/>
          </a:p>
        </p:txBody>
      </p:sp>
      <p:sp>
        <p:nvSpPr>
          <p:cNvPr id="169" name="Espace réservé du texte 2">
            <a:extLst>
              <a:ext uri="{FF2B5EF4-FFF2-40B4-BE49-F238E27FC236}">
                <a16:creationId xmlns:a16="http://schemas.microsoft.com/office/drawing/2014/main" id="{9B401286-3607-8DB0-6161-7800A983670B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10518775" y="5160963"/>
            <a:ext cx="4603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A880EC8-EBDC-47E8-862A-A3BD5698D624}" type="datetime'''''''''A''''''''''v''''''''''''''i''o''''''''''n'">
              <a:rPr lang="fr-F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vion</a:t>
            </a:fld>
            <a:endParaRPr lang="fr-FR" sz="1400"/>
          </a:p>
        </p:txBody>
      </p:sp>
      <p:sp>
        <p:nvSpPr>
          <p:cNvPr id="138" name="Espace réservé du texte 2">
            <a:extLst>
              <a:ext uri="{FF2B5EF4-FFF2-40B4-BE49-F238E27FC236}">
                <a16:creationId xmlns:a16="http://schemas.microsoft.com/office/drawing/2014/main" id="{5A508374-458A-E4CC-B407-C0C5BD6CA553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auto">
          <a:xfrm>
            <a:off x="5316538" y="5160963"/>
            <a:ext cx="16303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7506C83-19AF-46E1-B34E-72C6197E6696}" type="datetime'Vo''i''''tu''re - ''th''''''''e''''''''rmi''q''''''ue'''''''">
              <a:rPr lang="fr-F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oiture - thermique</a:t>
            </a:fld>
            <a:endParaRPr lang="fr-FR" sz="1400"/>
          </a:p>
        </p:txBody>
      </p:sp>
      <p:sp>
        <p:nvSpPr>
          <p:cNvPr id="367" name="ZoneTexte 366">
            <a:extLst>
              <a:ext uri="{FF2B5EF4-FFF2-40B4-BE49-F238E27FC236}">
                <a16:creationId xmlns:a16="http://schemas.microsoft.com/office/drawing/2014/main" id="{20A8AED4-3DA0-35D5-F489-B1C90C51775E}"/>
              </a:ext>
            </a:extLst>
          </p:cNvPr>
          <p:cNvSpPr txBox="1"/>
          <p:nvPr/>
        </p:nvSpPr>
        <p:spPr>
          <a:xfrm>
            <a:off x="9420963" y="2454245"/>
            <a:ext cx="682880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/>
              <a:t>~</a:t>
            </a:r>
            <a:r>
              <a:rPr lang="fr-FR" sz="1400" b="1"/>
              <a:t>8000 </a:t>
            </a:r>
          </a:p>
          <a:p>
            <a:pPr algn="ctr"/>
            <a:r>
              <a:rPr lang="fr-FR" sz="1200"/>
              <a:t>km/MK</a:t>
            </a:r>
          </a:p>
        </p:txBody>
      </p:sp>
      <p:sp>
        <p:nvSpPr>
          <p:cNvPr id="6" name="Espace réservé du pied de page 1">
            <a:extLst>
              <a:ext uri="{FF2B5EF4-FFF2-40B4-BE49-F238E27FC236}">
                <a16:creationId xmlns:a16="http://schemas.microsoft.com/office/drawing/2014/main" id="{BE628C4B-6B7E-8592-DE9A-7E81A11803CD}"/>
              </a:ext>
            </a:extLst>
          </p:cNvPr>
          <p:cNvSpPr txBox="1">
            <a:spLocks/>
          </p:cNvSpPr>
          <p:nvPr/>
        </p:nvSpPr>
        <p:spPr>
          <a:xfrm>
            <a:off x="1516827" y="6179795"/>
            <a:ext cx="8252647" cy="400050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fr-FR"/>
            </a:defPPr>
            <a:lvl1pPr>
              <a:defRPr lang="fr-FR" sz="1000" i="0" smtClean="0">
                <a:solidFill>
                  <a:schemeClr val="bg2">
                    <a:lumMod val="75000"/>
                  </a:schemeClr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VTH : Voiture thermique (diesel, gasoil, E85)</a:t>
            </a:r>
          </a:p>
          <a:p>
            <a:r>
              <a:rPr lang="fr-FR"/>
              <a:t>VE : Voiture électrique</a:t>
            </a:r>
          </a:p>
        </p:txBody>
      </p:sp>
    </p:spTree>
    <p:extLst>
      <p:ext uri="{BB962C8B-B14F-4D97-AF65-F5344CB8AC3E}">
        <p14:creationId xmlns:p14="http://schemas.microsoft.com/office/powerpoint/2010/main" val="42282777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21966815-513D-29E3-8C52-998BA30551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24990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8" imgW="7772400" imgH="10058400" progId="TCLayout.ActiveDocument.1">
                  <p:embed/>
                </p:oleObj>
              </mc:Choice>
              <mc:Fallback>
                <p:oleObj name="Diapositive think-cell" r:id="rId58" imgW="7772400" imgH="10058400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966815-513D-29E3-8C52-998BA3055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DD7994E7-B99D-208E-FF4E-9B96FF416A13}"/>
              </a:ext>
            </a:extLst>
          </p:cNvPr>
          <p:cNvSpPr/>
          <p:nvPr/>
        </p:nvSpPr>
        <p:spPr>
          <a:xfrm>
            <a:off x="8505733" y="1576711"/>
            <a:ext cx="3211470" cy="4593177"/>
          </a:xfrm>
          <a:prstGeom prst="roundRect">
            <a:avLst>
              <a:gd name="adj" fmla="val 369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tabLst>
                <a:tab pos="431800" algn="l"/>
              </a:tabLst>
            </a:pPr>
            <a:r>
              <a:rPr lang="fr-FR" sz="1400" b="1">
                <a:solidFill>
                  <a:schemeClr val="tx2"/>
                </a:solidFill>
              </a:rPr>
              <a:t>Commentaires</a:t>
            </a:r>
          </a:p>
          <a:p>
            <a:pPr algn="ctr"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tabLst>
                <a:tab pos="431800" algn="l"/>
              </a:tabLst>
            </a:pPr>
            <a:endParaRPr lang="fr-FR" sz="1400" b="1">
              <a:solidFill>
                <a:schemeClr val="tx2"/>
              </a:solidFill>
            </a:endParaRPr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Wingdings" pitchFamily="2" charset="2"/>
              <a:buChar char="Ø"/>
              <a:tabLst>
                <a:tab pos="431800" algn="l"/>
              </a:tabLst>
            </a:pPr>
            <a:r>
              <a:rPr lang="fr-FR" sz="1400">
                <a:solidFill>
                  <a:schemeClr val="tx2"/>
                </a:solidFill>
              </a:rPr>
              <a:t>Les émissions de la fabrication d’un véhicule sont en fonction de leur taille (tCO</a:t>
            </a:r>
            <a:r>
              <a:rPr lang="fr-FR" sz="1400" baseline="-25000">
                <a:solidFill>
                  <a:schemeClr val="tx2"/>
                </a:solidFill>
              </a:rPr>
              <a:t>2</a:t>
            </a:r>
            <a:r>
              <a:rPr lang="fr-FR" sz="1400">
                <a:solidFill>
                  <a:schemeClr val="tx2"/>
                </a:solidFill>
              </a:rPr>
              <a:t>e/véhicule) :</a:t>
            </a:r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Wingdings" pitchFamily="2" charset="2"/>
              <a:buChar char="Ø"/>
              <a:tabLst>
                <a:tab pos="431800" algn="l"/>
              </a:tabLst>
            </a:pPr>
            <a:endParaRPr lang="fr-FR" sz="1400">
              <a:solidFill>
                <a:schemeClr val="tx2"/>
              </a:solidFill>
            </a:endParaRPr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Wingdings" pitchFamily="2" charset="2"/>
              <a:buChar char="Ø"/>
              <a:tabLst>
                <a:tab pos="431800" algn="l"/>
              </a:tabLst>
            </a:pPr>
            <a:endParaRPr lang="fr-FR" sz="1400">
              <a:solidFill>
                <a:schemeClr val="tx2"/>
              </a:solidFill>
            </a:endParaRPr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Wingdings" pitchFamily="2" charset="2"/>
              <a:buChar char="Ø"/>
              <a:tabLst>
                <a:tab pos="431800" algn="l"/>
              </a:tabLst>
            </a:pPr>
            <a:endParaRPr lang="fr-FR" sz="1400">
              <a:solidFill>
                <a:schemeClr val="tx2"/>
              </a:solidFill>
            </a:endParaRPr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Wingdings" pitchFamily="2" charset="2"/>
              <a:buChar char="Ø"/>
              <a:tabLst>
                <a:tab pos="431800" algn="l"/>
              </a:tabLst>
            </a:pPr>
            <a:endParaRPr lang="fr-FR" sz="1400">
              <a:solidFill>
                <a:schemeClr val="tx2"/>
              </a:solidFill>
            </a:endParaRPr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Wingdings" pitchFamily="2" charset="2"/>
              <a:buChar char="Ø"/>
              <a:tabLst>
                <a:tab pos="431800" algn="l"/>
              </a:tabLst>
            </a:pPr>
            <a:endParaRPr lang="fr-FR" sz="1400">
              <a:solidFill>
                <a:schemeClr val="tx2"/>
              </a:solidFill>
            </a:endParaRPr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Wingdings" pitchFamily="2" charset="2"/>
              <a:buChar char="Ø"/>
              <a:tabLst>
                <a:tab pos="431800" algn="l"/>
              </a:tabLst>
            </a:pPr>
            <a:endParaRPr lang="fr-FR" sz="1400">
              <a:solidFill>
                <a:schemeClr val="tx2"/>
              </a:solidFill>
            </a:endParaRPr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Wingdings" pitchFamily="2" charset="2"/>
              <a:buChar char="Ø"/>
              <a:tabLst>
                <a:tab pos="431800" algn="l"/>
              </a:tabLst>
            </a:pPr>
            <a:r>
              <a:rPr lang="fr-FR" sz="1400">
                <a:solidFill>
                  <a:schemeClr val="tx2"/>
                </a:solidFill>
              </a:rPr>
              <a:t>Les émissions liées à la construction des bâtiments sont uniquement comptabilisées si ceux-ci ont été construits il y a moins de 30 ans</a:t>
            </a:r>
          </a:p>
          <a:p>
            <a:pPr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tabLst>
                <a:tab pos="431800" algn="l"/>
              </a:tabLst>
            </a:pPr>
            <a:endParaRPr lang="fr-FR" sz="1400" b="1">
              <a:solidFill>
                <a:schemeClr val="tx2"/>
              </a:solidFill>
            </a:endParaRPr>
          </a:p>
          <a:p>
            <a:pPr algn="ctr"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tabLst>
                <a:tab pos="431800" algn="l"/>
              </a:tabLst>
            </a:pPr>
            <a:endParaRPr lang="fr-FR" sz="1400" b="1">
              <a:solidFill>
                <a:schemeClr val="tx2"/>
              </a:solidFill>
            </a:endParaRPr>
          </a:p>
          <a:p>
            <a:pPr marL="285750" indent="-285750" algn="ctr"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buFont typeface="Arial" panose="020B0604020202020204" pitchFamily="34" charset="0"/>
              <a:buChar char="•"/>
              <a:tabLst>
                <a:tab pos="431800" algn="l"/>
              </a:tabLst>
            </a:pPr>
            <a:endParaRPr lang="fr-FR" sz="1400">
              <a:solidFill>
                <a:schemeClr val="tx2"/>
              </a:solidFill>
            </a:endParaRP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423AF05-3369-FC7E-8A62-17C1CA44C8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B5A6716-DBF2-AF4C-9665-1BA53E8D7A19}" type="slidenum">
              <a:rPr lang="fr-FR" smtClean="0"/>
              <a:pPr/>
              <a:t>18</a:t>
            </a:fld>
            <a:endParaRPr lang="fr-FR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BDC540E2-C51B-3962-EF10-D04CFAA652D0}"/>
              </a:ext>
            </a:extLst>
          </p:cNvPr>
          <p:cNvSpPr txBox="1">
            <a:spLocks/>
          </p:cNvSpPr>
          <p:nvPr/>
        </p:nvSpPr>
        <p:spPr>
          <a:xfrm>
            <a:off x="536574" y="314960"/>
            <a:ext cx="11115675" cy="8964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500">
                <a:solidFill>
                  <a:schemeClr val="accent1">
                    <a:lumMod val="40000"/>
                    <a:lumOff val="60000"/>
                  </a:schemeClr>
                </a:solidFill>
              </a:rPr>
              <a:t>Zoom sur les immobilisations | </a:t>
            </a:r>
            <a:r>
              <a:rPr lang="fr-FR" sz="2500"/>
              <a:t>Les véhicules de fonction et les bâtiments concentrent la plupart des émissions des immobilisations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5F4ABAD2-574A-5C60-7C24-C49D08835FC8}"/>
              </a:ext>
            </a:extLst>
          </p:cNvPr>
          <p:cNvSpPr txBox="1">
            <a:spLocks/>
          </p:cNvSpPr>
          <p:nvPr/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5A6716-DBF2-AF4C-9665-1BA53E8D7A19}" type="slidenum">
              <a:rPr lang="fr-FR" smtClean="0"/>
              <a:pPr/>
              <a:t>18</a:t>
            </a:fld>
            <a:endParaRPr lang="fr-FR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6674069B-EDF6-5A5A-C351-96F13E2A8241}"/>
              </a:ext>
            </a:extLst>
          </p:cNvPr>
          <p:cNvSpPr/>
          <p:nvPr/>
        </p:nvSpPr>
        <p:spPr>
          <a:xfrm>
            <a:off x="474799" y="1576713"/>
            <a:ext cx="3588243" cy="4593177"/>
          </a:xfrm>
          <a:prstGeom prst="roundRect">
            <a:avLst>
              <a:gd name="adj" fmla="val 369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tabLst>
                <a:tab pos="431800" algn="l"/>
              </a:tabLst>
            </a:pPr>
            <a:r>
              <a:rPr lang="fr-FR" b="1">
                <a:solidFill>
                  <a:schemeClr val="tx2"/>
                </a:solidFill>
              </a:rPr>
              <a:t>Empreinte carbone d’une séance au cabinet                      </a:t>
            </a:r>
            <a:r>
              <a:rPr lang="fr-FR" sz="1400">
                <a:solidFill>
                  <a:schemeClr val="tx2"/>
                </a:solidFill>
              </a:rPr>
              <a:t>(% du total)</a:t>
            </a:r>
          </a:p>
        </p:txBody>
      </p:sp>
      <p:graphicFrame>
        <p:nvGraphicFramePr>
          <p:cNvPr id="50" name="Chart 3">
            <a:extLst>
              <a:ext uri="{FF2B5EF4-FFF2-40B4-BE49-F238E27FC236}">
                <a16:creationId xmlns:a16="http://schemas.microsoft.com/office/drawing/2014/main" id="{25E5DA63-3B56-6FEF-2BC5-A30ACB7232A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9823910"/>
              </p:ext>
            </p:extLst>
          </p:nvPr>
        </p:nvGraphicFramePr>
        <p:xfrm>
          <a:off x="815975" y="2085975"/>
          <a:ext cx="2768600" cy="3287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E4013E3B-97B6-6802-C57B-58E67AB59611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2646363" y="2843214"/>
            <a:ext cx="442913" cy="4413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BA6AFBB3-1992-6D01-2F84-8C8F5DD9B344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2643188" y="2836863"/>
            <a:ext cx="441325" cy="4460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9" name="Espace réservé du texte 4">
            <a:extLst>
              <a:ext uri="{FF2B5EF4-FFF2-40B4-BE49-F238E27FC236}">
                <a16:creationId xmlns:a16="http://schemas.microsoft.com/office/drawing/2014/main" id="{198FB1D6-D749-27F9-6BA5-AC72E8177B5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2728913" y="2770188"/>
            <a:ext cx="2778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E91872C7-6AC4-4E56-B334-3DA153476099}" type="datetime'''1''''''''''''''''%'''''''''''''''''''''''''''''''">
              <a:rPr lang="fr-FR" altLang="en-US" smtClean="0">
                <a:effectLst/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1%</a:t>
            </a:fld>
            <a:endParaRPr lang="fr-FR">
              <a:latin typeface="+mn-lt"/>
            </a:endParaRPr>
          </a:p>
        </p:txBody>
      </p:sp>
      <p:sp useBgFill="1">
        <p:nvSpPr>
          <p:cNvPr id="10" name="Espace réservé du texte 4">
            <a:extLst>
              <a:ext uri="{FF2B5EF4-FFF2-40B4-BE49-F238E27FC236}">
                <a16:creationId xmlns:a16="http://schemas.microsoft.com/office/drawing/2014/main" id="{8A2BD7B9-487F-AB6F-404E-CF814B703AC7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2641600" y="2962275"/>
            <a:ext cx="3032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BF6D3815-74C7-4760-AEDC-EFEF7BB3D8CC}" type="datetime'''''''''''''''2''''''''''''%'''">
              <a:rPr lang="fr-FR" altLang="en-US" smtClean="0">
                <a:effectLst/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2%</a:t>
            </a:fld>
            <a:endParaRPr lang="fr-FR"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6203A8-C07F-E499-5B39-BE7F28C64D28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534988" y="5953125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4EFF535-F7DF-F9DB-CFCC-984ED1AC202A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34988" y="5281613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4B9B548-57A9-2C7B-1736-E008F03D1241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249488" y="5505450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A124430-94E7-DA8C-A5B0-DE1F9B7E6C44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534988" y="5505450"/>
            <a:ext cx="214313" cy="160338"/>
          </a:xfrm>
          <a:prstGeom prst="rect">
            <a:avLst/>
          </a:prstGeom>
          <a:solidFill>
            <a:schemeClr val="accent4"/>
          </a:solidFill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2FC08D6-C063-D91D-3A3E-215ABB7536BA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249488" y="5281613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B25B2F9-79D9-65B8-DEEE-8CC9FD3C0DE1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534988" y="5729288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EDB9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D3222F1-3E07-0E0D-1F28-248981D8E5EA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249488" y="5729288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55D1981D-9E48-35F0-950E-C253D13D8561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800100" y="5961063"/>
            <a:ext cx="13477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D0F9ED62-BA88-4480-AAEC-81D7F9BF426B}" type="datetime'D''''é''''''p''''''''''la''ce''''''men''''ts pa''''t''''''.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Déplacements pat.</a:t>
            </a:fld>
            <a:endParaRPr lang="fr-FR" sz="1200">
              <a:latin typeface="+mn-lt"/>
            </a:endParaRP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B09F06DF-CFFC-74EC-4A3D-CEB0A8E8729C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2514600" y="5289550"/>
            <a:ext cx="12271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B9C3BCFE-9489-4971-AFD8-86347300E263}" type="datetime'''''''E''n''ergi''e ''des'''''''' ''s''''i''t''''''es''''''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Energie des sites</a:t>
            </a:fld>
            <a:endParaRPr lang="fr-FR" sz="1200">
              <a:latin typeface="+mn-lt"/>
            </a:endParaRP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B2F2CDDF-FAF3-291B-9C27-9A4EA0C83117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800100" y="5737225"/>
            <a:ext cx="13096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BF6C48DD-B8AB-4617-96F6-D0075AEE9B90}" type="datetime'Dé''''plac''e''ment''s'''''''' ''''p''''''''''''r''''''''''o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Déplacements pro</a:t>
            </a:fld>
            <a:endParaRPr lang="fr-FR" sz="1200">
              <a:latin typeface="+mn-lt"/>
            </a:endParaRP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8A9AA5E6-F1BC-37C3-81BC-B38A9919C501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2514600" y="5513388"/>
            <a:ext cx="5969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9604B305-1B0B-4AD2-A2E6-E2E624EA5AA2}" type="datetime'''''''''''''''''''''''D''''''''''''''''''é''ch''''e''ts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Déchets</a:t>
            </a:fld>
            <a:endParaRPr lang="fr-FR" sz="1200">
              <a:latin typeface="+mn-lt"/>
            </a:endParaRP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9916FD55-6FF3-8459-86AB-7E7F78CA216A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800100" y="5513388"/>
            <a:ext cx="11144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921B3EAB-B5BC-4A28-B081-228FA53A233C}" type="datetime'''''''Im''mo''''bi''li''sa''''''''t''''i''''''''''''ons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Immobilisations</a:t>
            </a:fld>
            <a:endParaRPr lang="fr-FR" sz="1200">
              <a:latin typeface="+mn-lt"/>
            </a:endParaRP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731A1784-0194-0EAF-AE07-09BFFB28E8A2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2514600" y="5737225"/>
            <a:ext cx="11096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08816069-0F59-460D-87DA-13EF8F8D4C88}" type="datetime'''Ga''z'' ''f''ri''g''''o''''r''i''''''g''èn''''''''e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Gaz frigorigène</a:t>
            </a:fld>
            <a:endParaRPr lang="fr-FR" sz="1200">
              <a:latin typeface="+mn-lt"/>
            </a:endParaRP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BC984063-85E6-CB49-2AC8-9C367890BFBD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800100" y="5289550"/>
            <a:ext cx="498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1C4B9678-1CA9-4E20-8034-FB838C2F3B42}" type="datetime'''''''''''''''A''''cha''''''''''''''''''''''''t''''''s''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Achats</a:t>
            </a:fld>
            <a:endParaRPr lang="fr-FR" sz="1200">
              <a:latin typeface="+mn-lt"/>
            </a:endParaRPr>
          </a:p>
        </p:txBody>
      </p:sp>
      <p:pic>
        <p:nvPicPr>
          <p:cNvPr id="25" name="Graphique 24" descr="Ligne fléchée : incurvée sens des aiguilles d’une montre avec un remplissage uni">
            <a:extLst>
              <a:ext uri="{FF2B5EF4-FFF2-40B4-BE49-F238E27FC236}">
                <a16:creationId xmlns:a16="http://schemas.microsoft.com/office/drawing/2014/main" id="{B2C233AA-B9F4-7529-32AB-638ACCD0449A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 rot="6518642">
            <a:off x="3557761" y="1864390"/>
            <a:ext cx="763922" cy="1422181"/>
          </a:xfrm>
          <a:prstGeom prst="rect">
            <a:avLst/>
          </a:prstGeom>
        </p:spPr>
      </p:pic>
      <p:pic>
        <p:nvPicPr>
          <p:cNvPr id="26" name="Picture 3" descr="loupe icon">
            <a:extLst>
              <a:ext uri="{FF2B5EF4-FFF2-40B4-BE49-F238E27FC236}">
                <a16:creationId xmlns:a16="http://schemas.microsoft.com/office/drawing/2014/main" id="{1572E326-22A1-3FBF-6376-3860AD0F5A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8521" y="2587341"/>
            <a:ext cx="632957" cy="632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Arc plein 26">
            <a:extLst>
              <a:ext uri="{FF2B5EF4-FFF2-40B4-BE49-F238E27FC236}">
                <a16:creationId xmlns:a16="http://schemas.microsoft.com/office/drawing/2014/main" id="{61B54EB9-2743-ED06-31D0-E13B7A281735}"/>
              </a:ext>
            </a:extLst>
          </p:cNvPr>
          <p:cNvSpPr/>
          <p:nvPr/>
        </p:nvSpPr>
        <p:spPr>
          <a:xfrm rot="19595875">
            <a:off x="795043" y="2238843"/>
            <a:ext cx="2716780" cy="2831654"/>
          </a:xfrm>
          <a:prstGeom prst="blockArc">
            <a:avLst>
              <a:gd name="adj1" fmla="val 1448240"/>
              <a:gd name="adj2" fmla="val 6666743"/>
              <a:gd name="adj3" fmla="val 27485"/>
            </a:avLst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</a:pPr>
            <a:endParaRPr lang="fr-FR" sz="140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56" name="Chart 3">
            <a:extLst>
              <a:ext uri="{FF2B5EF4-FFF2-40B4-BE49-F238E27FC236}">
                <a16:creationId xmlns:a16="http://schemas.microsoft.com/office/drawing/2014/main" id="{0EF067AC-9538-6AE7-D1BB-6B0AE138A326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947513060"/>
              </p:ext>
            </p:extLst>
          </p:nvPr>
        </p:nvGraphicFramePr>
        <p:xfrm>
          <a:off x="5180013" y="2132013"/>
          <a:ext cx="2752725" cy="319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4"/>
          </a:graphicData>
        </a:graphic>
      </p:graphicFrame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72A0E390-CC2E-4C86-9093-3458CB135355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5786438" y="2795588"/>
            <a:ext cx="303213" cy="19208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731FA2DD-8AD6-446C-AAB2-D8491917C963}" type="datetime'2''''''''''''''''''''''''%'''''">
              <a:rPr lang="fr-FR" altLang="en-US" smtClean="0">
                <a:effectLst/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2%</a:t>
            </a:fld>
            <a:endParaRPr lang="fr-FR">
              <a:latin typeface="+mn-lt"/>
            </a:endParaRPr>
          </a:p>
        </p:txBody>
      </p:sp>
      <p:sp>
        <p:nvSpPr>
          <p:cNvPr id="54" name="Espace réservé du texte 4">
            <a:extLst>
              <a:ext uri="{FF2B5EF4-FFF2-40B4-BE49-F238E27FC236}">
                <a16:creationId xmlns:a16="http://schemas.microsoft.com/office/drawing/2014/main" id="{9B6090B8-F115-9052-B1F2-68E6E6302DD7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6027738" y="2987675"/>
            <a:ext cx="277813" cy="1920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38FD93DC-01A9-42E2-A83E-9C67E01254C0}" type="datetime'''''''''''''''''''''''''''''1''''''%'''''">
              <a:rPr lang="fr-FR" altLang="en-US" smtClean="0">
                <a:effectLst/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1%</a:t>
            </a:fld>
            <a:endParaRPr lang="fr-FR">
              <a:latin typeface="+mn-lt"/>
            </a:endParaRP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CF3CF88B-1483-947D-6EE2-79F6FA184C31}"/>
              </a:ext>
            </a:extLst>
          </p:cNvPr>
          <p:cNvSpPr txBox="1"/>
          <p:nvPr/>
        </p:nvSpPr>
        <p:spPr>
          <a:xfrm>
            <a:off x="5974485" y="3523848"/>
            <a:ext cx="1163780" cy="40011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1400" b="1"/>
              <a:t>0,83 </a:t>
            </a:r>
          </a:p>
          <a:p>
            <a:pPr algn="ctr"/>
            <a:r>
              <a:rPr lang="fr-FR" sz="1200"/>
              <a:t>kgCO</a:t>
            </a:r>
            <a:r>
              <a:rPr lang="fr-FR" sz="1200" baseline="-25000"/>
              <a:t>2</a:t>
            </a:r>
            <a:r>
              <a:rPr lang="fr-FR" sz="1200"/>
              <a:t>e/séance</a:t>
            </a:r>
          </a:p>
        </p:txBody>
      </p:sp>
      <p:sp>
        <p:nvSpPr>
          <p:cNvPr id="31" name="Rectangle : coins arrondis 30">
            <a:extLst>
              <a:ext uri="{FF2B5EF4-FFF2-40B4-BE49-F238E27FC236}">
                <a16:creationId xmlns:a16="http://schemas.microsoft.com/office/drawing/2014/main" id="{8828344D-4C00-A836-D46B-A0DCDE3198B4}"/>
              </a:ext>
            </a:extLst>
          </p:cNvPr>
          <p:cNvSpPr/>
          <p:nvPr/>
        </p:nvSpPr>
        <p:spPr>
          <a:xfrm>
            <a:off x="4932548" y="1576713"/>
            <a:ext cx="3262012" cy="721644"/>
          </a:xfrm>
          <a:prstGeom prst="roundRect">
            <a:avLst>
              <a:gd name="adj" fmla="val 16839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tabLst>
                <a:tab pos="431800" algn="l"/>
              </a:tabLst>
            </a:pPr>
            <a:r>
              <a:rPr lang="fr-FR" b="1">
                <a:solidFill>
                  <a:schemeClr val="accent2"/>
                </a:solidFill>
              </a:rPr>
              <a:t>Immobilisations</a:t>
            </a:r>
            <a:endParaRPr lang="fr-FR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tabLst>
                <a:tab pos="431800" algn="l"/>
              </a:tabLst>
            </a:pPr>
            <a:r>
              <a:rPr lang="fr-FR" sz="1400">
                <a:solidFill>
                  <a:schemeClr val="accent2"/>
                </a:solidFill>
              </a:rPr>
              <a:t>(% du total)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6B19A7A-7F49-52DC-C3F2-A97CFDB19E18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6638925" y="55641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86D7417-DADB-2212-954C-C51EC8769047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4302125" y="50561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D82B21B-C585-82E7-52F6-0AECEC4BA5A3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6638925" y="531018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15C4655-DD8A-3D50-B4C8-599EF17185F6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4302125" y="5310188"/>
            <a:ext cx="250825" cy="187325"/>
          </a:xfrm>
          <a:prstGeom prst="rect">
            <a:avLst/>
          </a:prstGeom>
          <a:solidFill>
            <a:srgbClr val="D6D7D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84E4AAA-3C42-F145-DDBC-A63B641C106B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6638925" y="5056188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F5A20CF-58C3-C5AD-5E21-4A82E7914B7D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4302125" y="5564188"/>
            <a:ext cx="250825" cy="187325"/>
          </a:xfrm>
          <a:prstGeom prst="rect">
            <a:avLst/>
          </a:prstGeom>
          <a:solidFill>
            <a:srgbClr val="FFE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7F2B274-97C1-6433-46A2-965BDC5882D3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4302125" y="6072188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A0E8BD6-E8E6-38DF-92D8-CDD9888DFA43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4302125" y="5818188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4" name="Espace réservé du texte 4">
            <a:extLst>
              <a:ext uri="{FF2B5EF4-FFF2-40B4-BE49-F238E27FC236}">
                <a16:creationId xmlns:a16="http://schemas.microsoft.com/office/drawing/2014/main" id="{33ABCC2D-DA90-0ECC-3270-0EA1A236DF54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4603750" y="5067300"/>
            <a:ext cx="5492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90E04350-280F-48AF-BF53-039742B1B9D1}" type="datetime'''''''''''''''''''A''u''''t''''''''''''r''''e''''''''''s'">
              <a:rPr lang="fr-FR" altLang="en-US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Autres</a:t>
            </a:fld>
            <a:endParaRPr lang="fr-FR">
              <a:latin typeface="+mn-lt"/>
            </a:endParaRPr>
          </a:p>
        </p:txBody>
      </p:sp>
      <p:sp>
        <p:nvSpPr>
          <p:cNvPr id="45" name="Espace réservé du texte 4">
            <a:extLst>
              <a:ext uri="{FF2B5EF4-FFF2-40B4-BE49-F238E27FC236}">
                <a16:creationId xmlns:a16="http://schemas.microsoft.com/office/drawing/2014/main" id="{948D3BAC-35CA-C5F4-3DCB-D211AD3A2CCC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4603750" y="5829300"/>
            <a:ext cx="14335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0DBFA24D-57C2-4CB0-ABEA-FA2AE1E4D32A}" type="datetime'''O''''r''d''i''n''''''a''teu''''r''s ''f''i''''x''e''''s'''''">
              <a:rPr lang="fr-FR" altLang="en-US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Ordinateurs fixes</a:t>
            </a:fld>
            <a:endParaRPr lang="fr-FR">
              <a:latin typeface="+mn-lt"/>
            </a:endParaRP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59675F57-7181-B9C5-4BFB-F2E53E888CF2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6940550" y="5067300"/>
            <a:ext cx="15351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D42F5F47-E8EE-4023-BE13-CBC7A81781CF}" type="datetime'Tab''''''''''le''s'''' ''éle''ct''''''r''''i''''q''ues'''''">
              <a:rPr lang="fr-FR" altLang="en-US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Tables électriques</a:t>
            </a:fld>
            <a:endParaRPr lang="fr-FR">
              <a:latin typeface="+mn-lt"/>
            </a:endParaRPr>
          </a:p>
        </p:txBody>
      </p:sp>
      <p:sp>
        <p:nvSpPr>
          <p:cNvPr id="47" name="Espace réservé du texte 4">
            <a:extLst>
              <a:ext uri="{FF2B5EF4-FFF2-40B4-BE49-F238E27FC236}">
                <a16:creationId xmlns:a16="http://schemas.microsoft.com/office/drawing/2014/main" id="{FD58C69D-198B-DCE4-9261-FC0893C754FA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4603750" y="5575300"/>
            <a:ext cx="1778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722E2649-BCEE-4689-8126-A72714308BD3}" type="datetime'''''É''q''uip''''''''em''en''ts'' ''''''m''''''''''a''ss''ifs'">
              <a:rPr lang="fr-FR" altLang="en-US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Équipements massifs</a:t>
            </a:fld>
            <a:endParaRPr lang="fr-FR">
              <a:latin typeface="+mn-lt"/>
            </a:endParaRPr>
          </a:p>
        </p:txBody>
      </p:sp>
      <p:sp>
        <p:nvSpPr>
          <p:cNvPr id="42" name="Espace réservé du texte 4">
            <a:extLst>
              <a:ext uri="{FF2B5EF4-FFF2-40B4-BE49-F238E27FC236}">
                <a16:creationId xmlns:a16="http://schemas.microsoft.com/office/drawing/2014/main" id="{6D37AD58-2902-8744-1619-0FF16DFB2D4D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6940550" y="5321300"/>
            <a:ext cx="8429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1F823248-05B7-44EC-92F1-92E84E3F174E}" type="datetime'B''''ât''''i''''m''''e''''''nt''''''''''''''''''''s'''''''''">
              <a:rPr lang="fr-FR" altLang="en-US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Bâtiments</a:t>
            </a:fld>
            <a:endParaRPr lang="fr-FR">
              <a:latin typeface="+mn-lt"/>
            </a:endParaRPr>
          </a:p>
        </p:txBody>
      </p:sp>
      <p:sp>
        <p:nvSpPr>
          <p:cNvPr id="41" name="Espace réservé du texte 4">
            <a:extLst>
              <a:ext uri="{FF2B5EF4-FFF2-40B4-BE49-F238E27FC236}">
                <a16:creationId xmlns:a16="http://schemas.microsoft.com/office/drawing/2014/main" id="{CE3A4FF9-8DFC-3B82-5D05-34DCBC48C869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4603750" y="5321300"/>
            <a:ext cx="1333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46C647AB-50A1-4415-A05A-AE4207664EE2}" type="datetime'''''''''Tap''i''''s ''d''''e'''''''''''' c''''''o''urse'''''">
              <a:rPr lang="fr-FR" altLang="en-US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Tapis de course</a:t>
            </a:fld>
            <a:endParaRPr lang="fr-FR">
              <a:latin typeface="+mn-lt"/>
            </a:endParaRP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0206F60B-DAD1-F975-B6FE-9947F052F2BA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6940550" y="5575300"/>
            <a:ext cx="8048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42054187-3F35-48E7-A2A9-AD9BF8CE06D3}" type="datetime'V''''''é''''''''h''''''''''ic''''''''''''''''''''''''ul''es'''">
              <a:rPr lang="fr-FR" altLang="en-US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Véhicules</a:t>
            </a:fld>
            <a:endParaRPr lang="fr-FR">
              <a:latin typeface="+mn-lt"/>
            </a:endParaRPr>
          </a:p>
        </p:txBody>
      </p:sp>
      <p:sp>
        <p:nvSpPr>
          <p:cNvPr id="46" name="Espace réservé du texte 4">
            <a:extLst>
              <a:ext uri="{FF2B5EF4-FFF2-40B4-BE49-F238E27FC236}">
                <a16:creationId xmlns:a16="http://schemas.microsoft.com/office/drawing/2014/main" id="{E64C9C9D-1640-5EF4-BE22-A56A88C65161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4603750" y="6083300"/>
            <a:ext cx="19335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E048D577-1764-4A86-8533-8A6CE52D9F1B}" type="datetime'V''é''lo''s ''- do''n''''''''''t'' ''élli''ptiq''''u''''es'''">
              <a:rPr lang="fr-FR" altLang="en-US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Vélos - dont élliptiques</a:t>
            </a:fld>
            <a:endParaRPr lang="fr-FR">
              <a:latin typeface="+mn-lt"/>
            </a:endParaRPr>
          </a:p>
        </p:txBody>
      </p:sp>
      <p:graphicFrame>
        <p:nvGraphicFramePr>
          <p:cNvPr id="58" name="Chart 3">
            <a:extLst>
              <a:ext uri="{FF2B5EF4-FFF2-40B4-BE49-F238E27FC236}">
                <a16:creationId xmlns:a16="http://schemas.microsoft.com/office/drawing/2014/main" id="{D0600560-54FD-267F-727E-3DE3405535A5}"/>
              </a:ext>
            </a:extLst>
          </p:cNvPr>
          <p:cNvGraphicFramePr/>
          <p:nvPr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3966945679"/>
              </p:ext>
            </p:extLst>
          </p:nvPr>
        </p:nvGraphicFramePr>
        <p:xfrm>
          <a:off x="8767763" y="2803525"/>
          <a:ext cx="2776537" cy="1814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5"/>
          </a:graphicData>
        </a:graphic>
      </p:graphicFrame>
      <p:sp>
        <p:nvSpPr>
          <p:cNvPr id="95" name="Espace réservé du texte 2">
            <a:extLst>
              <a:ext uri="{FF2B5EF4-FFF2-40B4-BE49-F238E27FC236}">
                <a16:creationId xmlns:a16="http://schemas.microsoft.com/office/drawing/2014/main" id="{DA43EE1D-F4BD-BC80-AEDB-E9A51774EE17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9290050" y="4435475"/>
            <a:ext cx="4222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F933B2-0618-4A04-8513-8ACB91732019}" type="datetime'''''''''''''''''''''M''''''''''''''''''''''oye''''''''n'''''''">
              <a:rPr lang="fr-FR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oyen</a:t>
            </a:fld>
            <a:endParaRPr lang="fr-FR" sz="1000"/>
          </a:p>
        </p:txBody>
      </p:sp>
      <p:sp>
        <p:nvSpPr>
          <p:cNvPr id="98" name="Espace réservé du texte 2">
            <a:extLst>
              <a:ext uri="{FF2B5EF4-FFF2-40B4-BE49-F238E27FC236}">
                <a16:creationId xmlns:a16="http://schemas.microsoft.com/office/drawing/2014/main" id="{52D948C3-7AA5-41EC-6D53-8CA4C8DE6C27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auto">
          <a:xfrm>
            <a:off x="9748838" y="4435475"/>
            <a:ext cx="3794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2E705E-176F-4F86-8F34-7F8C774A3310}" type="datetime'''''G''''''ra''''''n''''''''''''''''''d'''''''''">
              <a:rPr lang="fr-FR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Grand</a:t>
            </a:fld>
            <a:endParaRPr lang="fr-FR" sz="1000"/>
          </a:p>
        </p:txBody>
      </p:sp>
      <p:sp>
        <p:nvSpPr>
          <p:cNvPr id="107" name="Espace réservé du texte 2">
            <a:extLst>
              <a:ext uri="{FF2B5EF4-FFF2-40B4-BE49-F238E27FC236}">
                <a16:creationId xmlns:a16="http://schemas.microsoft.com/office/drawing/2014/main" id="{C73275AA-0917-DB3F-D6CF-90715B65421B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auto">
          <a:xfrm>
            <a:off x="10228263" y="4435475"/>
            <a:ext cx="2905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ABE021-04A3-4420-A25D-408BBB6D5DC2}" type="datetime'''''P''''''''''''''''''e''''''t''''''''''''''''''''''i''''t'">
              <a:rPr lang="fr-FR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etit</a:t>
            </a:fld>
            <a:endParaRPr lang="fr-FR" sz="1000"/>
          </a:p>
        </p:txBody>
      </p:sp>
      <p:sp>
        <p:nvSpPr>
          <p:cNvPr id="108" name="Espace réservé du texte 2">
            <a:extLst>
              <a:ext uri="{FF2B5EF4-FFF2-40B4-BE49-F238E27FC236}">
                <a16:creationId xmlns:a16="http://schemas.microsoft.com/office/drawing/2014/main" id="{D3277F5B-DB84-2AD2-46D9-922B73AD94C2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10596563" y="4435475"/>
            <a:ext cx="4222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E4DA2B-D8DD-4666-AEB9-B3A9E1683803}" type="datetime'''M''''''''o''''y''en'''''''''''''''''''''''''''''''''">
              <a:rPr lang="fr-FR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oyen</a:t>
            </a:fld>
            <a:endParaRPr lang="fr-FR" sz="1000"/>
          </a:p>
        </p:txBody>
      </p:sp>
      <p:sp>
        <p:nvSpPr>
          <p:cNvPr id="109" name="Espace réservé du texte 2">
            <a:extLst>
              <a:ext uri="{FF2B5EF4-FFF2-40B4-BE49-F238E27FC236}">
                <a16:creationId xmlns:a16="http://schemas.microsoft.com/office/drawing/2014/main" id="{2F5515FE-6475-C0BF-83A7-789B24ACA517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11053763" y="4435475"/>
            <a:ext cx="3794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0B5270-7DB8-43B5-9F11-7F551AD3FF6B}" type="datetime'''Gra''''''''n''''''''''''''''''''''''d'''''''''">
              <a:rPr lang="fr-FR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Grand</a:t>
            </a:fld>
            <a:endParaRPr lang="fr-FR" sz="1000"/>
          </a:p>
        </p:txBody>
      </p:sp>
      <p:sp>
        <p:nvSpPr>
          <p:cNvPr id="79" name="Espace réservé du texte 2">
            <a:extLst>
              <a:ext uri="{FF2B5EF4-FFF2-40B4-BE49-F238E27FC236}">
                <a16:creationId xmlns:a16="http://schemas.microsoft.com/office/drawing/2014/main" id="{3A47D794-CB4E-B7B5-EB28-033A49A3DCCD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8921750" y="4435475"/>
            <a:ext cx="2905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7B0F2C-8B44-4696-90C0-72FC40AB83C8}" type="datetime'''''''''''''''''P''''e''''''''''''''''''t''i''''t'''''''">
              <a:rPr lang="fr-FR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etit</a:t>
            </a:fld>
            <a:endParaRPr lang="fr-FR" sz="1000"/>
          </a:p>
        </p:txBody>
      </p:sp>
      <p:sp>
        <p:nvSpPr>
          <p:cNvPr id="116" name="Espace réservé du texte 2">
            <a:extLst>
              <a:ext uri="{FF2B5EF4-FFF2-40B4-BE49-F238E27FC236}">
                <a16:creationId xmlns:a16="http://schemas.microsoft.com/office/drawing/2014/main" id="{E376F668-8111-060D-58C0-ED1E825D059D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9399588" y="35337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E0C561-2738-47CB-98CB-9737DFF516F5}" type="datetime'''''''''''''''''''''''''''''2'''',''''1'''''''''''''">
              <a:rPr lang="fr-FR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1</a:t>
            </a:fld>
            <a:endParaRPr lang="fr-FR" sz="1000"/>
          </a:p>
        </p:txBody>
      </p:sp>
      <p:sp>
        <p:nvSpPr>
          <p:cNvPr id="119" name="Espace réservé du texte 2">
            <a:extLst>
              <a:ext uri="{FF2B5EF4-FFF2-40B4-BE49-F238E27FC236}">
                <a16:creationId xmlns:a16="http://schemas.microsoft.com/office/drawing/2014/main" id="{2BD90EF8-5538-AF5E-AAA3-A1373F23E2B8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9825038" y="3424238"/>
            <a:ext cx="227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5FBCC8-E208-47DD-AA31-817CCDB30ED6}" type="datetime'''2'''''''''''''''''''''''''''''''''''''',4'''''''''''''''''''">
              <a:rPr lang="fr-FR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4</a:t>
            </a:fld>
            <a:endParaRPr lang="fr-FR" sz="1000"/>
          </a:p>
        </p:txBody>
      </p:sp>
      <p:sp>
        <p:nvSpPr>
          <p:cNvPr id="121" name="Espace réservé du texte 2">
            <a:extLst>
              <a:ext uri="{FF2B5EF4-FFF2-40B4-BE49-F238E27FC236}">
                <a16:creationId xmlns:a16="http://schemas.microsoft.com/office/drawing/2014/main" id="{EA4F8C24-F710-4EA8-791B-F26143431EFA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10261600" y="3495675"/>
            <a:ext cx="222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2EB561-EFDE-42FC-AAE7-0613CB0C93BE}" type="datetime'2'''''''',''''''''''''''''2'''''''''''''''''''''''''''''">
              <a:rPr lang="fr-FR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2</a:t>
            </a:fld>
            <a:endParaRPr lang="fr-FR" sz="1000"/>
          </a:p>
        </p:txBody>
      </p:sp>
      <p:sp>
        <p:nvSpPr>
          <p:cNvPr id="124" name="Espace réservé du texte 2">
            <a:extLst>
              <a:ext uri="{FF2B5EF4-FFF2-40B4-BE49-F238E27FC236}">
                <a16:creationId xmlns:a16="http://schemas.microsoft.com/office/drawing/2014/main" id="{1BEE53D0-1988-7C4E-E5C0-E968C6654194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10693400" y="3224213"/>
            <a:ext cx="2301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22080B-10B7-47F0-AA5B-83880CE31FFE}" type="datetime'''''''''''''''3'''''''''',''''''''''''''''''''''''0'''">
              <a:rPr lang="fr-FR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0</a:t>
            </a:fld>
            <a:endParaRPr lang="fr-FR" sz="1000"/>
          </a:p>
        </p:txBody>
      </p:sp>
      <p:sp>
        <p:nvSpPr>
          <p:cNvPr id="127" name="Espace réservé du texte 2">
            <a:extLst>
              <a:ext uri="{FF2B5EF4-FFF2-40B4-BE49-F238E27FC236}">
                <a16:creationId xmlns:a16="http://schemas.microsoft.com/office/drawing/2014/main" id="{B4C15636-9C4A-F28D-FAD1-9C46CDDFD09C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11137900" y="2867025"/>
            <a:ext cx="2095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DBC6B7-3A80-46A1-9DC1-D01C53F736E6}" type="datetime'''''4'''''''',''1'">
              <a:rPr lang="fr-FR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1</a:t>
            </a:fld>
            <a:endParaRPr lang="fr-FR" sz="1000"/>
          </a:p>
        </p:txBody>
      </p:sp>
      <p:sp>
        <p:nvSpPr>
          <p:cNvPr id="113" name="Espace réservé du texte 2">
            <a:extLst>
              <a:ext uri="{FF2B5EF4-FFF2-40B4-BE49-F238E27FC236}">
                <a16:creationId xmlns:a16="http://schemas.microsoft.com/office/drawing/2014/main" id="{F76BDA34-2CCA-EB8E-6D57-3CC813A78217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8966200" y="3681413"/>
            <a:ext cx="2016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5AE25E-AAD4-4482-B4BD-F956D6EA5F6F}" type="datetime'''''''''''''''''''''''''''''''''''''''''''''1'',7'">
              <a:rPr lang="fr-FR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7</a:t>
            </a:fld>
            <a:endParaRPr lang="fr-FR" sz="1000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16F0F7C4-B0B1-E03E-FA8C-8D86EC4198B6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8901113" y="2974975"/>
            <a:ext cx="179388" cy="13335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F9F88C75-96A6-D3CF-FE5D-B0DD98919291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8901113" y="3170238"/>
            <a:ext cx="179388" cy="133350"/>
          </a:xfrm>
          <a:prstGeom prst="rect">
            <a:avLst/>
          </a:prstGeom>
          <a:solidFill>
            <a:srgbClr val="6F8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6" name="Espace réservé du texte 2">
            <a:extLst>
              <a:ext uri="{FF2B5EF4-FFF2-40B4-BE49-F238E27FC236}">
                <a16:creationId xmlns:a16="http://schemas.microsoft.com/office/drawing/2014/main" id="{5EF020D3-7094-2194-C1ED-862FA3FD56CE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auto">
          <a:xfrm>
            <a:off x="9131300" y="2982913"/>
            <a:ext cx="514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CF52C88-E8E8-415C-84B1-9C485AAB326F}" type="datetime'V''é''h''''''''''i''''c''''''''''''u''le'''''''''''''''''''">
              <a:rPr lang="fr-FR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éhicule</a:t>
            </a:fld>
            <a:endParaRPr lang="fr-FR" sz="1000"/>
          </a:p>
        </p:txBody>
      </p:sp>
      <p:sp>
        <p:nvSpPr>
          <p:cNvPr id="130" name="Espace réservé du texte 2">
            <a:extLst>
              <a:ext uri="{FF2B5EF4-FFF2-40B4-BE49-F238E27FC236}">
                <a16:creationId xmlns:a16="http://schemas.microsoft.com/office/drawing/2014/main" id="{0C52CC1D-BB84-8064-2092-AF077E58E6D0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auto">
          <a:xfrm>
            <a:off x="9131301" y="3178175"/>
            <a:ext cx="4730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3B1FFE8-B650-45FB-A494-A3A6797CCDA6}" type="datetime'''''''B''''''''''''''a''''tt''''''''''''''''''''''''''''erie'">
              <a:rPr lang="fr-FR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atterie</a:t>
            </a:fld>
            <a:endParaRPr lang="fr-FR" sz="1000"/>
          </a:p>
        </p:txBody>
      </p:sp>
      <p:sp>
        <p:nvSpPr>
          <p:cNvPr id="193" name="ZoneTexte 192">
            <a:extLst>
              <a:ext uri="{FF2B5EF4-FFF2-40B4-BE49-F238E27FC236}">
                <a16:creationId xmlns:a16="http://schemas.microsoft.com/office/drawing/2014/main" id="{708F0169-8D80-A892-AB15-B31A5B606083}"/>
              </a:ext>
            </a:extLst>
          </p:cNvPr>
          <p:cNvSpPr txBox="1"/>
          <p:nvPr/>
        </p:nvSpPr>
        <p:spPr>
          <a:xfrm>
            <a:off x="9293226" y="4639389"/>
            <a:ext cx="4619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b="1"/>
              <a:t>VTH</a:t>
            </a:r>
          </a:p>
        </p:txBody>
      </p:sp>
      <p:sp>
        <p:nvSpPr>
          <p:cNvPr id="194" name="ZoneTexte 193">
            <a:extLst>
              <a:ext uri="{FF2B5EF4-FFF2-40B4-BE49-F238E27FC236}">
                <a16:creationId xmlns:a16="http://schemas.microsoft.com/office/drawing/2014/main" id="{F854D406-470D-1E76-866C-F6989FE5A53E}"/>
              </a:ext>
            </a:extLst>
          </p:cNvPr>
          <p:cNvSpPr txBox="1"/>
          <p:nvPr/>
        </p:nvSpPr>
        <p:spPr>
          <a:xfrm>
            <a:off x="10653415" y="4639389"/>
            <a:ext cx="3593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b="1"/>
              <a:t>VE</a:t>
            </a:r>
          </a:p>
        </p:txBody>
      </p:sp>
      <p:sp>
        <p:nvSpPr>
          <p:cNvPr id="195" name="Accolade fermante 194">
            <a:extLst>
              <a:ext uri="{FF2B5EF4-FFF2-40B4-BE49-F238E27FC236}">
                <a16:creationId xmlns:a16="http://schemas.microsoft.com/office/drawing/2014/main" id="{D29F3763-7EA8-5F9A-1B2E-FBAEB179E2AC}"/>
              </a:ext>
            </a:extLst>
          </p:cNvPr>
          <p:cNvSpPr/>
          <p:nvPr/>
        </p:nvSpPr>
        <p:spPr>
          <a:xfrm rot="5400000">
            <a:off x="9451591" y="3996940"/>
            <a:ext cx="145256" cy="1214415"/>
          </a:xfrm>
          <a:prstGeom prst="righ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6" name="Accolade fermante 195">
            <a:extLst>
              <a:ext uri="{FF2B5EF4-FFF2-40B4-BE49-F238E27FC236}">
                <a16:creationId xmlns:a16="http://schemas.microsoft.com/office/drawing/2014/main" id="{0F797C48-7D6B-9C7B-2FEF-5E5B16148135}"/>
              </a:ext>
            </a:extLst>
          </p:cNvPr>
          <p:cNvSpPr/>
          <p:nvPr/>
        </p:nvSpPr>
        <p:spPr>
          <a:xfrm rot="5400000">
            <a:off x="10760484" y="3996941"/>
            <a:ext cx="145256" cy="1214415"/>
          </a:xfrm>
          <a:prstGeom prst="righ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8" name="Espace réservé du pied de page 1">
            <a:extLst>
              <a:ext uri="{FF2B5EF4-FFF2-40B4-BE49-F238E27FC236}">
                <a16:creationId xmlns:a16="http://schemas.microsoft.com/office/drawing/2014/main" id="{9E167311-ABEB-3B1C-A9CB-AACE589B953B}"/>
              </a:ext>
            </a:extLst>
          </p:cNvPr>
          <p:cNvSpPr txBox="1">
            <a:spLocks/>
          </p:cNvSpPr>
          <p:nvPr/>
        </p:nvSpPr>
        <p:spPr>
          <a:xfrm>
            <a:off x="1516827" y="6179795"/>
            <a:ext cx="8252647" cy="400050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fr-FR"/>
            </a:defPPr>
            <a:lvl1pPr>
              <a:defRPr lang="fr-FR" sz="1000" i="0" smtClean="0">
                <a:solidFill>
                  <a:schemeClr val="bg2">
                    <a:lumMod val="75000"/>
                  </a:schemeClr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La durée d'amortissement des véhicules est de 5 ans</a:t>
            </a:r>
          </a:p>
          <a:p>
            <a:r>
              <a:rPr lang="fr-FR"/>
              <a:t>La durée d'amortissement des bâtiments est de 30 ans</a:t>
            </a:r>
          </a:p>
        </p:txBody>
      </p:sp>
    </p:spTree>
    <p:extLst>
      <p:ext uri="{BB962C8B-B14F-4D97-AF65-F5344CB8AC3E}">
        <p14:creationId xmlns:p14="http://schemas.microsoft.com/office/powerpoint/2010/main" val="33164006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7ADCE7-72FC-DE67-E7DC-15CE3D4F23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think-cell data - do not delete" hidden="1">
            <a:extLst>
              <a:ext uri="{FF2B5EF4-FFF2-40B4-BE49-F238E27FC236}">
                <a16:creationId xmlns:a16="http://schemas.microsoft.com/office/drawing/2014/main" id="{E67F48C9-3989-A55E-9A5E-45A5FD5C81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39072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1" imgW="7772400" imgH="10058400" progId="TCLayout.ActiveDocument.1">
                  <p:embed/>
                </p:oleObj>
              </mc:Choice>
              <mc:Fallback>
                <p:oleObj name="Diapositive think-cell" r:id="rId51" imgW="7772400" imgH="10058400" progId="TCLayout.ActiveDocument.1">
                  <p:embed/>
                  <p:pic>
                    <p:nvPicPr>
                      <p:cNvPr id="5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7F48C9-3989-A55E-9A5E-45A5FD5C8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4" name="Rectangle : coins arrondis 133">
            <a:extLst>
              <a:ext uri="{FF2B5EF4-FFF2-40B4-BE49-F238E27FC236}">
                <a16:creationId xmlns:a16="http://schemas.microsoft.com/office/drawing/2014/main" id="{AEDD46BD-21AF-D468-47B5-C183B7385F5C}"/>
              </a:ext>
            </a:extLst>
          </p:cNvPr>
          <p:cNvSpPr/>
          <p:nvPr/>
        </p:nvSpPr>
        <p:spPr>
          <a:xfrm>
            <a:off x="4928543" y="5325440"/>
            <a:ext cx="6723705" cy="916610"/>
          </a:xfrm>
          <a:prstGeom prst="roundRect">
            <a:avLst>
              <a:gd name="adj" fmla="val 369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tabLst>
                <a:tab pos="431800" algn="l"/>
              </a:tabLst>
            </a:pPr>
            <a:r>
              <a:rPr lang="fr-FR" sz="1050">
                <a:solidFill>
                  <a:schemeClr val="tx2"/>
                </a:solidFill>
              </a:rPr>
              <a:t>La </a:t>
            </a:r>
            <a:r>
              <a:rPr lang="fr-FR" sz="1050" b="1">
                <a:solidFill>
                  <a:schemeClr val="tx2"/>
                </a:solidFill>
              </a:rPr>
              <a:t>consommation d’énergie </a:t>
            </a:r>
            <a:r>
              <a:rPr lang="fr-FR" sz="1050">
                <a:solidFill>
                  <a:schemeClr val="tx2"/>
                </a:solidFill>
              </a:rPr>
              <a:t>(kWh/séance)</a:t>
            </a:r>
            <a:r>
              <a:rPr lang="fr-FR" sz="1050" b="1">
                <a:solidFill>
                  <a:schemeClr val="tx2"/>
                </a:solidFill>
              </a:rPr>
              <a:t> est plus importante </a:t>
            </a:r>
            <a:r>
              <a:rPr lang="fr-FR" sz="1050">
                <a:solidFill>
                  <a:schemeClr val="tx2"/>
                </a:solidFill>
              </a:rPr>
              <a:t>dans des cabinets</a:t>
            </a:r>
            <a:r>
              <a:rPr lang="fr-FR" sz="1050" b="1">
                <a:solidFill>
                  <a:schemeClr val="tx2"/>
                </a:solidFill>
              </a:rPr>
              <a:t> avec des équipements de balnéothérapi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1D46FDF-B3DE-4F46-D5ED-4AC8FAA58E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B5A6716-DBF2-AF4C-9665-1BA53E8D7A19}" type="slidenum">
              <a:rPr lang="fr-FR" smtClean="0"/>
              <a:pPr/>
              <a:t>19</a:t>
            </a:fld>
            <a:endParaRPr lang="fr-FR"/>
          </a:p>
        </p:txBody>
      </p: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4906BA25-14F0-E167-4C12-8F3D86D4BA88}"/>
              </a:ext>
            </a:extLst>
          </p:cNvPr>
          <p:cNvSpPr/>
          <p:nvPr/>
        </p:nvSpPr>
        <p:spPr>
          <a:xfrm>
            <a:off x="474799" y="1576713"/>
            <a:ext cx="3588243" cy="4665337"/>
          </a:xfrm>
          <a:prstGeom prst="roundRect">
            <a:avLst>
              <a:gd name="adj" fmla="val 369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tabLst>
                <a:tab pos="431800" algn="l"/>
              </a:tabLst>
            </a:pPr>
            <a:r>
              <a:rPr lang="fr-FR" b="1">
                <a:solidFill>
                  <a:schemeClr val="tx2"/>
                </a:solidFill>
              </a:rPr>
              <a:t>Empreinte carbone d’une séance au cabinet                      </a:t>
            </a:r>
            <a:r>
              <a:rPr lang="fr-FR" sz="1400">
                <a:solidFill>
                  <a:schemeClr val="tx2"/>
                </a:solidFill>
              </a:rPr>
              <a:t>(% du total)</a:t>
            </a:r>
          </a:p>
        </p:txBody>
      </p:sp>
      <p:graphicFrame>
        <p:nvGraphicFramePr>
          <p:cNvPr id="30" name="Chart 3">
            <a:extLst>
              <a:ext uri="{FF2B5EF4-FFF2-40B4-BE49-F238E27FC236}">
                <a16:creationId xmlns:a16="http://schemas.microsoft.com/office/drawing/2014/main" id="{F3429B88-98D1-7C9C-897B-AD76097855D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691002"/>
              </p:ext>
            </p:extLst>
          </p:nvPr>
        </p:nvGraphicFramePr>
        <p:xfrm>
          <a:off x="815975" y="2085975"/>
          <a:ext cx="2768600" cy="3287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2EF7C289-4B20-77F3-0E40-648F5C49BBDE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2646363" y="2843214"/>
            <a:ext cx="442913" cy="4413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BCB184F1-550B-D450-6719-057252CB2490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2643188" y="2836863"/>
            <a:ext cx="441325" cy="4460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Espace réservé du texte 4">
            <a:extLst>
              <a:ext uri="{FF2B5EF4-FFF2-40B4-BE49-F238E27FC236}">
                <a16:creationId xmlns:a16="http://schemas.microsoft.com/office/drawing/2014/main" id="{284556C3-456F-D446-2B37-2DB45E348F13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2728913" y="2770188"/>
            <a:ext cx="277813" cy="19208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878453BA-1C32-44D3-8EBC-68852190D1FE}" type="datetime'''''''''''''''''''''''1''''''''''''%'">
              <a:rPr lang="fr-FR" altLang="en-US" smtClean="0">
                <a:effectLst/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1%</a:t>
            </a:fld>
            <a:endParaRPr lang="fr-FR">
              <a:latin typeface="+mn-lt"/>
            </a:endParaRPr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94E19A7A-9E04-1ABA-2CF5-8DE2F14752AE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2641600" y="2962275"/>
            <a:ext cx="303213" cy="1920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71763578-D0C2-459F-9720-9814DBBFAA56}" type="datetime'''''''''''''''''''''''''2''''''''''''''''''''%'''">
              <a:rPr lang="fr-FR" altLang="en-US" smtClean="0">
                <a:solidFill>
                  <a:schemeClr val="bg1"/>
                </a:solidFill>
                <a:effectLst/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2%</a:t>
            </a:fld>
            <a:endParaRPr lang="fr-FR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re 2">
            <a:extLst>
              <a:ext uri="{FF2B5EF4-FFF2-40B4-BE49-F238E27FC236}">
                <a16:creationId xmlns:a16="http://schemas.microsoft.com/office/drawing/2014/main" id="{E49C877E-0BD3-ACE6-F15B-CFB2284586E9}"/>
              </a:ext>
            </a:extLst>
          </p:cNvPr>
          <p:cNvSpPr txBox="1">
            <a:spLocks/>
          </p:cNvSpPr>
          <p:nvPr/>
        </p:nvSpPr>
        <p:spPr>
          <a:xfrm>
            <a:off x="536574" y="314960"/>
            <a:ext cx="11115675" cy="8964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500">
                <a:solidFill>
                  <a:schemeClr val="accent1">
                    <a:lumMod val="40000"/>
                    <a:lumOff val="60000"/>
                  </a:schemeClr>
                </a:solidFill>
              </a:rPr>
              <a:t>Zoom sur les émissions de sites | </a:t>
            </a:r>
            <a:r>
              <a:rPr lang="fr-FR" sz="2500">
                <a:solidFill>
                  <a:srgbClr val="283245"/>
                </a:solidFill>
              </a:rPr>
              <a:t>L’énergie, les déchets et les gaz frigorigènes représentent 13% de l’empreinte carbone des cabinets</a:t>
            </a:r>
            <a:r>
              <a:rPr lang="fr-FR" sz="2500">
                <a:solidFill>
                  <a:schemeClr val="accent1">
                    <a:lumMod val="40000"/>
                    <a:lumOff val="60000"/>
                  </a:schemeClr>
                </a:solidFill>
              </a:rPr>
              <a:t>  </a:t>
            </a:r>
          </a:p>
        </p:txBody>
      </p:sp>
      <p:sp>
        <p:nvSpPr>
          <p:cNvPr id="10" name="Espace réservé du numéro de diapositive 3">
            <a:extLst>
              <a:ext uri="{FF2B5EF4-FFF2-40B4-BE49-F238E27FC236}">
                <a16:creationId xmlns:a16="http://schemas.microsoft.com/office/drawing/2014/main" id="{8576D66F-A79A-154B-3157-81C53FD174FD}"/>
              </a:ext>
            </a:extLst>
          </p:cNvPr>
          <p:cNvSpPr txBox="1">
            <a:spLocks/>
          </p:cNvSpPr>
          <p:nvPr/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5A6716-DBF2-AF4C-9665-1BA53E8D7A19}" type="slidenum">
              <a:rPr lang="fr-FR" smtClean="0"/>
              <a:pPr/>
              <a:t>19</a:t>
            </a:fld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6452AED-FF6C-F7CA-3C4D-3C83BB7F93ED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596900" y="5837238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D096467-EED5-F253-7529-8D3088171DF3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96900" y="5165725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19062BB-E290-1835-6A66-54085BCFA071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311400" y="5389563"/>
            <a:ext cx="214313" cy="160338"/>
          </a:xfrm>
          <a:prstGeom prst="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82D3D07-3125-9CD0-889A-FC35435D4CC8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596900" y="5389563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CAC3E27-BDB5-4E18-709F-2855B4AB5493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311400" y="5165725"/>
            <a:ext cx="214313" cy="160338"/>
          </a:xfrm>
          <a:prstGeom prst="rect">
            <a:avLst/>
          </a:prstGeom>
          <a:solidFill>
            <a:schemeClr val="accent5"/>
          </a:solidFill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D30D45A-B99E-A678-1D25-A08E289E8BA5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596900" y="5613400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EDB9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5E63FE9-94FF-968F-0E09-03AF5B758435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311400" y="5613400"/>
            <a:ext cx="214313" cy="160338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EECBB1A4-B73C-8FC2-7ED3-04E882BDA336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862013" y="5845175"/>
            <a:ext cx="13477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6F84A03C-BF8D-4BE0-8762-6B3CD66668F8}" type="datetime'''''''''''D''''ép''lac''''''em''e''''''n''''ts p''at''''''''.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Déplacements pat.</a:t>
            </a:fld>
            <a:endParaRPr lang="fr-FR" sz="1200">
              <a:latin typeface="+mn-lt"/>
            </a:endParaRP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168F185C-5B46-2E2B-86DE-029E55FC377E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2576513" y="5173663"/>
            <a:ext cx="12271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4FFAE045-B576-44CD-B010-9F0350A169A8}" type="datetime'''E''''n''ergie'' d''''es ''sit''''e''s''''''''''''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Energie des sites</a:t>
            </a:fld>
            <a:endParaRPr lang="fr-FR" sz="1200">
              <a:latin typeface="+mn-lt"/>
            </a:endParaRP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25E6E0FE-372F-1497-E932-55BFE80C3ADD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862013" y="5621338"/>
            <a:ext cx="13096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89645B25-10A6-473F-9245-204C6DCF4546}" type="datetime'D''ép''''''''l''''ac''e''''m''''e''nt''''''s ''p''''ro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Déplacements pro</a:t>
            </a:fld>
            <a:endParaRPr lang="fr-FR" sz="1200">
              <a:latin typeface="+mn-lt"/>
            </a:endParaRP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26DC8CD7-D50F-36A2-271A-3D3B0D2F4D2A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2576513" y="5397500"/>
            <a:ext cx="5969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0ADD70E1-A253-4787-A8BB-33B4738D33FB}" type="datetime'''Dé''''''''''''''''''''''ch''e''''''ts''''''''''''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Déchets</a:t>
            </a:fld>
            <a:endParaRPr lang="fr-FR" sz="1200">
              <a:latin typeface="+mn-lt"/>
            </a:endParaRP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AEFF0FC7-6F8F-2936-8E59-F576CD49F196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862014" y="5397500"/>
            <a:ext cx="11144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575E7AF9-2495-4D7A-BF7B-B03474E98666}" type="datetime'''''''I''m''''''''''''mobi''''''''''l''''''''isati''on''s''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Immobilisations</a:t>
            </a:fld>
            <a:endParaRPr lang="fr-FR" sz="1200">
              <a:latin typeface="+mn-lt"/>
            </a:endParaRP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BC60981C-7139-2179-C998-818F99D6014E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2576513" y="5621338"/>
            <a:ext cx="11096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BE1EC190-77E5-47B3-B045-91FB289E9559}" type="datetime'Gaz'''''' ''fr''''''''''i''g''o''r''''i''gèn''''''''e''''''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Gaz frigorigène</a:t>
            </a:fld>
            <a:endParaRPr lang="fr-FR" sz="1200">
              <a:latin typeface="+mn-lt"/>
            </a:endParaRP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B6820339-CE4F-CBFE-62E8-6BC81F25F075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862013" y="5173663"/>
            <a:ext cx="498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FA458267-CF03-4339-A8E6-7E6B424F9F2A}" type="datetime'''''''A''''''c''h''''''''''''a''''''''''''t''s''''''''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Achats</a:t>
            </a:fld>
            <a:endParaRPr lang="fr-FR" sz="1200">
              <a:latin typeface="+mn-lt"/>
            </a:endParaRPr>
          </a:p>
        </p:txBody>
      </p:sp>
      <p:pic>
        <p:nvPicPr>
          <p:cNvPr id="25" name="Graphique 24" descr="Ligne fléchée : incurvée sens des aiguilles d’une montre avec un remplissage uni">
            <a:extLst>
              <a:ext uri="{FF2B5EF4-FFF2-40B4-BE49-F238E27FC236}">
                <a16:creationId xmlns:a16="http://schemas.microsoft.com/office/drawing/2014/main" id="{BE263423-99E2-515A-9062-E6335C94E19A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 rot="6518642">
            <a:off x="3557761" y="1864390"/>
            <a:ext cx="763922" cy="1422181"/>
          </a:xfrm>
          <a:prstGeom prst="rect">
            <a:avLst/>
          </a:prstGeom>
        </p:spPr>
      </p:pic>
      <p:sp>
        <p:nvSpPr>
          <p:cNvPr id="26" name="Arc plein 25">
            <a:extLst>
              <a:ext uri="{FF2B5EF4-FFF2-40B4-BE49-F238E27FC236}">
                <a16:creationId xmlns:a16="http://schemas.microsoft.com/office/drawing/2014/main" id="{DA1E91EC-EA45-1102-339E-949FACF98C0E}"/>
              </a:ext>
            </a:extLst>
          </p:cNvPr>
          <p:cNvSpPr/>
          <p:nvPr/>
        </p:nvSpPr>
        <p:spPr>
          <a:xfrm rot="18273679">
            <a:off x="697828" y="2421000"/>
            <a:ext cx="2905760" cy="2803526"/>
          </a:xfrm>
          <a:prstGeom prst="blockArc">
            <a:avLst>
              <a:gd name="adj1" fmla="val 19472095"/>
              <a:gd name="adj2" fmla="val 692780"/>
              <a:gd name="adj3" fmla="val 28444"/>
            </a:avLst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</a:pPr>
            <a:endParaRPr lang="fr-FR" sz="140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27" name="Picture 3" descr="loupe icon">
            <a:extLst>
              <a:ext uri="{FF2B5EF4-FFF2-40B4-BE49-F238E27FC236}">
                <a16:creationId xmlns:a16="http://schemas.microsoft.com/office/drawing/2014/main" id="{15BBD2BC-912A-5A35-8E48-52530E58D4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8521" y="2587341"/>
            <a:ext cx="632957" cy="632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E4BA791F-8324-7D93-E541-2CF549BAA1C4}"/>
              </a:ext>
            </a:extLst>
          </p:cNvPr>
          <p:cNvSpPr/>
          <p:nvPr/>
        </p:nvSpPr>
        <p:spPr>
          <a:xfrm>
            <a:off x="4932548" y="1576713"/>
            <a:ext cx="3262012" cy="721644"/>
          </a:xfrm>
          <a:prstGeom prst="roundRect">
            <a:avLst>
              <a:gd name="adj" fmla="val 19230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tabLst>
                <a:tab pos="431800" algn="l"/>
              </a:tabLst>
            </a:pPr>
            <a:r>
              <a:rPr lang="fr-FR" b="1">
                <a:solidFill>
                  <a:schemeClr val="accent5"/>
                </a:solidFill>
              </a:rPr>
              <a:t>Energie des sites</a:t>
            </a:r>
          </a:p>
          <a:p>
            <a:pPr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tabLst>
                <a:tab pos="431800" algn="l"/>
              </a:tabLst>
            </a:pPr>
            <a:r>
              <a:rPr lang="fr-FR" sz="1400">
                <a:solidFill>
                  <a:schemeClr val="accent5"/>
                </a:solidFill>
              </a:rPr>
              <a:t>(% du total)</a:t>
            </a:r>
          </a:p>
        </p:txBody>
      </p:sp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D7EB13C3-1A2C-89C1-01DF-31358BD0BA95}"/>
              </a:ext>
            </a:extLst>
          </p:cNvPr>
          <p:cNvSpPr/>
          <p:nvPr/>
        </p:nvSpPr>
        <p:spPr>
          <a:xfrm>
            <a:off x="8390238" y="1576713"/>
            <a:ext cx="3262012" cy="721644"/>
          </a:xfrm>
          <a:prstGeom prst="roundRect">
            <a:avLst>
              <a:gd name="adj" fmla="val 1923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tabLst>
                <a:tab pos="431800" algn="l"/>
              </a:tabLst>
            </a:pPr>
            <a:r>
              <a:rPr lang="fr-FR" b="1">
                <a:solidFill>
                  <a:schemeClr val="tx2"/>
                </a:solidFill>
              </a:rPr>
              <a:t>Déchets</a:t>
            </a:r>
            <a:endParaRPr lang="fr-FR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tabLst>
                <a:tab pos="431800" algn="l"/>
              </a:tabLst>
            </a:pPr>
            <a:r>
              <a:rPr lang="fr-FR" sz="1400">
                <a:solidFill>
                  <a:schemeClr val="tx2"/>
                </a:solidFill>
              </a:rPr>
              <a:t>(% du total)</a:t>
            </a:r>
          </a:p>
        </p:txBody>
      </p:sp>
      <p:graphicFrame>
        <p:nvGraphicFramePr>
          <p:cNvPr id="57" name="Chart 3">
            <a:extLst>
              <a:ext uri="{FF2B5EF4-FFF2-40B4-BE49-F238E27FC236}">
                <a16:creationId xmlns:a16="http://schemas.microsoft.com/office/drawing/2014/main" id="{332F8B5E-2F41-209C-0801-840D0ECB7BDD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588401279"/>
              </p:ext>
            </p:extLst>
          </p:nvPr>
        </p:nvGraphicFramePr>
        <p:xfrm>
          <a:off x="5230813" y="2420938"/>
          <a:ext cx="2705100" cy="319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>
        <p:nvSpPr>
          <p:cNvPr id="31" name="Espace réservé du texte 4">
            <a:extLst>
              <a:ext uri="{FF2B5EF4-FFF2-40B4-BE49-F238E27FC236}">
                <a16:creationId xmlns:a16="http://schemas.microsoft.com/office/drawing/2014/main" id="{E5C5857B-9A92-9BAA-E4C8-9E532E2B2A6B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7472363" y="4879975"/>
            <a:ext cx="3286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5101FFA9-B260-4E22-B864-6F280471506A}" type="datetime'''''''''''G''''''''''''a''''''z'''''''''''''''''">
              <a:rPr lang="fr-FR" altLang="en-US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Gaz</a:t>
            </a:fld>
            <a:endParaRPr lang="fr-FR">
              <a:latin typeface="+mn-lt"/>
            </a:endParaRPr>
          </a:p>
        </p:txBody>
      </p:sp>
      <p:sp>
        <p:nvSpPr>
          <p:cNvPr id="32" name="Espace réservé du texte 4">
            <a:extLst>
              <a:ext uri="{FF2B5EF4-FFF2-40B4-BE49-F238E27FC236}">
                <a16:creationId xmlns:a16="http://schemas.microsoft.com/office/drawing/2014/main" id="{5845520A-F136-E78F-AE00-D72B3F821FF6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4840288" y="2979738"/>
            <a:ext cx="8366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F6ED1CCB-07FF-4A9D-880A-D313653BF7D1}" type="datetime'''El''e''''''c''''''tr''''''''''ic''i''''''''''''té'">
              <a:rPr lang="fr-FR" altLang="en-US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Electricité</a:t>
            </a:fld>
            <a:endParaRPr lang="fr-FR">
              <a:latin typeface="+mn-lt"/>
            </a:endParaRPr>
          </a:p>
        </p:txBody>
      </p:sp>
      <p:sp>
        <p:nvSpPr>
          <p:cNvPr id="34" name="Espace réservé du texte 4">
            <a:extLst>
              <a:ext uri="{FF2B5EF4-FFF2-40B4-BE49-F238E27FC236}">
                <a16:creationId xmlns:a16="http://schemas.microsoft.com/office/drawing/2014/main" id="{56A8A243-1ED3-1E8C-7087-C3998321FE3A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6424613" y="2830513"/>
            <a:ext cx="277813" cy="192088"/>
          </a:xfrm>
          <a:prstGeom prst="rect">
            <a:avLst/>
          </a:prstGeom>
          <a:solidFill>
            <a:srgbClr val="38D3A9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B9D6DEF6-4A69-4135-8873-F77D886114A8}" type="datetime'''''''''1%'''''''''''">
              <a:rPr lang="fr-FR" altLang="en-US" smtClean="0">
                <a:effectLst/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1%</a:t>
            </a:fld>
            <a:endParaRPr lang="fr-FR">
              <a:latin typeface="+mn-lt"/>
            </a:endParaRP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CCFAB88B-F2A4-0B2E-FFBB-737FA4777BCE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6210300" y="2592388"/>
            <a:ext cx="698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CC8CE7F1-AA6F-474E-B65B-C7F395EF2DD0}" type="datetime'P''''r''''''o''''''p''''''''''''''''''a''n''e'''''''''''''''''">
              <a:rPr lang="fr-FR" altLang="en-US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Propane</a:t>
            </a:fld>
            <a:endParaRPr lang="fr-FR">
              <a:latin typeface="+mn-lt"/>
            </a:endParaRP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F2F52EDD-B646-C66B-CB21-63CCEF391AC6}"/>
              </a:ext>
            </a:extLst>
          </p:cNvPr>
          <p:cNvSpPr txBox="1"/>
          <p:nvPr/>
        </p:nvSpPr>
        <p:spPr>
          <a:xfrm>
            <a:off x="6001473" y="3838966"/>
            <a:ext cx="1163780" cy="40011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1400" b="1"/>
              <a:t>0,35 </a:t>
            </a:r>
          </a:p>
          <a:p>
            <a:pPr algn="ctr"/>
            <a:r>
              <a:rPr lang="fr-FR" sz="1200"/>
              <a:t>kgCO</a:t>
            </a:r>
            <a:r>
              <a:rPr lang="fr-FR" sz="1200" baseline="-25000"/>
              <a:t>2</a:t>
            </a:r>
            <a:r>
              <a:rPr lang="fr-FR" sz="1200"/>
              <a:t>e/séance</a:t>
            </a:r>
          </a:p>
        </p:txBody>
      </p:sp>
      <p:graphicFrame>
        <p:nvGraphicFramePr>
          <p:cNvPr id="58" name="Chart 3">
            <a:extLst>
              <a:ext uri="{FF2B5EF4-FFF2-40B4-BE49-F238E27FC236}">
                <a16:creationId xmlns:a16="http://schemas.microsoft.com/office/drawing/2014/main" id="{A6A79094-BFAC-8F0C-1AA0-399D151B24D4}"/>
              </a:ext>
            </a:extLst>
          </p:cNvPr>
          <p:cNvGraphicFramePr/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4244218912"/>
              </p:ext>
            </p:extLst>
          </p:nvPr>
        </p:nvGraphicFramePr>
        <p:xfrm>
          <a:off x="8674100" y="2420938"/>
          <a:ext cx="2744788" cy="319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8"/>
          </a:graphicData>
        </a:graphic>
      </p:graphicFrame>
      <p:sp>
        <p:nvSpPr>
          <p:cNvPr id="37" name="Espace réservé du texte 4">
            <a:extLst>
              <a:ext uri="{FF2B5EF4-FFF2-40B4-BE49-F238E27FC236}">
                <a16:creationId xmlns:a16="http://schemas.microsoft.com/office/drawing/2014/main" id="{E662F1A9-DA18-EF01-1CA7-47D0B39AAFAB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10717213" y="5051425"/>
            <a:ext cx="8651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DBF2CA25-8B2B-4338-90F2-4B42EC46F8F7}" type="datetime'''''P''l''''''''''''''''a''sti''que''''''''''''''s'''''''''">
              <a:rPr lang="fr-FR" altLang="en-US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Plastiques</a:t>
            </a:fld>
            <a:endParaRPr lang="fr-FR">
              <a:latin typeface="+mn-lt"/>
            </a:endParaRP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DFA3B62E-06FE-936E-D69E-55CCA200A5C7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8315325" y="4497388"/>
            <a:ext cx="576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6895B4E5-E376-41A6-B905-A6AA19B60907}" type="datetime'''''''C''''''''''''''''a''''r''''''''t''o''''n'''">
              <a:rPr lang="fr-FR" altLang="en-US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Carton</a:t>
            </a:fld>
            <a:endParaRPr lang="fr-FR">
              <a:latin typeface="+mn-lt"/>
            </a:endParaRP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6E8F7EB4-75E8-2DFA-4086-ED215BB109CC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8132763" y="2863850"/>
            <a:ext cx="93345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r>
              <a:rPr lang="fr-FR">
                <a:latin typeface="+mn-lt"/>
              </a:rPr>
              <a:t>Ordures</a:t>
            </a:r>
          </a:p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r>
              <a:rPr lang="fr-FR">
                <a:latin typeface="+mn-lt"/>
              </a:rPr>
              <a:t>ménagères</a:t>
            </a: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B2961CA2-422A-6B92-385B-388D496266AA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11199813" y="3343275"/>
            <a:ext cx="533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61417396-A772-48DE-BCB1-895C981ED2AD}" type="datetime'''''''P''a''''''''''p''''''''''''''ier'''''''''''''''">
              <a:rPr lang="fr-FR" altLang="en-US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Papier</a:t>
            </a:fld>
            <a:endParaRPr lang="fr-FR">
              <a:latin typeface="+mn-lt"/>
            </a:endParaRPr>
          </a:p>
        </p:txBody>
      </p:sp>
      <p:sp>
        <p:nvSpPr>
          <p:cNvPr id="44" name="Espace réservé du texte 4">
            <a:extLst>
              <a:ext uri="{FF2B5EF4-FFF2-40B4-BE49-F238E27FC236}">
                <a16:creationId xmlns:a16="http://schemas.microsoft.com/office/drawing/2014/main" id="{C6BF06C1-0F4C-731B-A779-0A18CF839A87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9363075" y="2614613"/>
            <a:ext cx="447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C16E1AA3-1738-4BD9-8EDB-F73EBB8E6322}" type="datetime'''''''''''''''''''''D''''''E''E''''''''''''''E'''">
              <a:rPr lang="fr-FR" altLang="en-US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DEEE</a:t>
            </a:fld>
            <a:endParaRPr lang="fr-FR">
              <a:latin typeface="+mn-lt"/>
            </a:endParaRPr>
          </a:p>
        </p:txBody>
      </p:sp>
      <p:sp>
        <p:nvSpPr>
          <p:cNvPr id="42" name="Espace réservé du texte 4">
            <a:extLst>
              <a:ext uri="{FF2B5EF4-FFF2-40B4-BE49-F238E27FC236}">
                <a16:creationId xmlns:a16="http://schemas.microsoft.com/office/drawing/2014/main" id="{EB1CA4C0-49C4-F6FA-7D8D-2115BDE7E2CE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9840913" y="3079750"/>
            <a:ext cx="303213" cy="192088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D99041BD-4B2D-4FEC-8C58-A8A2772115B1}" type="datetime'''''''''''''''''''''''''2%'''''''''''">
              <a:rPr lang="fr-FR" altLang="en-US" smtClean="0">
                <a:effectLst/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2%</a:t>
            </a:fld>
            <a:endParaRPr lang="fr-FR">
              <a:latin typeface="+mn-lt"/>
            </a:endParaRP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ED52440C-1D5A-00BA-18D6-CDABF21D80B1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9861550" y="2592388"/>
            <a:ext cx="447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075D950E-31B4-42C0-B19B-01D4A1E3C33B}" type="datetime'V''''''''''''''''e''''''''''''''''''''''''''''r''r''''''e'">
              <a:rPr lang="fr-FR" altLang="en-US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Verre</a:t>
            </a:fld>
            <a:endParaRPr lang="fr-FR">
              <a:latin typeface="+mn-lt"/>
            </a:endParaRPr>
          </a:p>
        </p:txBody>
      </p:sp>
      <p:sp>
        <p:nvSpPr>
          <p:cNvPr id="41" name="Espace réservé du texte 4">
            <a:extLst>
              <a:ext uri="{FF2B5EF4-FFF2-40B4-BE49-F238E27FC236}">
                <a16:creationId xmlns:a16="http://schemas.microsoft.com/office/drawing/2014/main" id="{7FCAD0D4-0247-6467-5549-64ED1645DCF8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9629775" y="2887663"/>
            <a:ext cx="309563" cy="192088"/>
          </a:xfrm>
          <a:prstGeom prst="rect">
            <a:avLst/>
          </a:prstGeom>
          <a:solidFill>
            <a:srgbClr val="D6D6D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18D81305-D6BF-420D-8971-39F9CE1AEA5F}" type="datetime'''''''''''''''''''''''''''''''''4''''''''%'''''''''''''''''">
              <a:rPr lang="fr-FR" altLang="en-US" smtClean="0">
                <a:effectLst/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4%</a:t>
            </a:fld>
            <a:endParaRPr lang="fr-FR">
              <a:latin typeface="+mn-lt"/>
            </a:endParaRPr>
          </a:p>
        </p:txBody>
      </p:sp>
      <p:sp>
        <p:nvSpPr>
          <p:cNvPr id="45" name="ZoneTexte 44">
            <a:extLst>
              <a:ext uri="{FF2B5EF4-FFF2-40B4-BE49-F238E27FC236}">
                <a16:creationId xmlns:a16="http://schemas.microsoft.com/office/drawing/2014/main" id="{2757DD4D-9EFD-BC6F-EB5B-3D648F72E76C}"/>
              </a:ext>
            </a:extLst>
          </p:cNvPr>
          <p:cNvSpPr txBox="1"/>
          <p:nvPr/>
        </p:nvSpPr>
        <p:spPr>
          <a:xfrm>
            <a:off x="9464604" y="3838966"/>
            <a:ext cx="1163780" cy="40011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1400" b="1"/>
              <a:t>0,02 </a:t>
            </a:r>
          </a:p>
          <a:p>
            <a:pPr algn="ctr"/>
            <a:r>
              <a:rPr lang="fr-FR" sz="1200"/>
              <a:t>kgCO</a:t>
            </a:r>
            <a:r>
              <a:rPr lang="fr-FR" sz="1200" baseline="-25000"/>
              <a:t>2</a:t>
            </a:r>
            <a:r>
              <a:rPr lang="fr-FR" sz="1200"/>
              <a:t>e/séance</a:t>
            </a:r>
          </a:p>
        </p:txBody>
      </p:sp>
      <p:graphicFrame>
        <p:nvGraphicFramePr>
          <p:cNvPr id="59" name="Chart 3">
            <a:extLst>
              <a:ext uri="{FF2B5EF4-FFF2-40B4-BE49-F238E27FC236}">
                <a16:creationId xmlns:a16="http://schemas.microsoft.com/office/drawing/2014/main" id="{D7A8F6E0-471F-4C0B-AEB8-FE634B30D70A}"/>
              </a:ext>
            </a:extLst>
          </p:cNvPr>
          <p:cNvGraphicFramePr/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1165003500"/>
              </p:ext>
            </p:extLst>
          </p:nvPr>
        </p:nvGraphicFramePr>
        <p:xfrm>
          <a:off x="6902450" y="5437188"/>
          <a:ext cx="3140075" cy="979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9"/>
          </a:graphicData>
        </a:graphic>
      </p:graphicFrame>
      <p:cxnSp>
        <p:nvCxnSpPr>
          <p:cNvPr id="174" name="Connecteur droit 173">
            <a:extLst>
              <a:ext uri="{FF2B5EF4-FFF2-40B4-BE49-F238E27FC236}">
                <a16:creationId xmlns:a16="http://schemas.microsoft.com/office/drawing/2014/main" id="{2CA08AC1-BC7F-32EA-33C0-3378F0856857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10477500" y="5949949"/>
            <a:ext cx="0" cy="587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Connecteur droit 165">
            <a:extLst>
              <a:ext uri="{FF2B5EF4-FFF2-40B4-BE49-F238E27FC236}">
                <a16:creationId xmlns:a16="http://schemas.microsoft.com/office/drawing/2014/main" id="{2AB238E2-B838-984B-E38A-D58EDF49C26B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 flipH="1">
            <a:off x="10053639" y="6008688"/>
            <a:ext cx="423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4" name="Connecteur droit 163">
            <a:extLst>
              <a:ext uri="{FF2B5EF4-FFF2-40B4-BE49-F238E27FC236}">
                <a16:creationId xmlns:a16="http://schemas.microsoft.com/office/drawing/2014/main" id="{B29928D4-4999-0E80-CF78-5D67768FB957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8358189" y="5754688"/>
            <a:ext cx="21193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" name="Connecteur droit 164">
            <a:extLst>
              <a:ext uri="{FF2B5EF4-FFF2-40B4-BE49-F238E27FC236}">
                <a16:creationId xmlns:a16="http://schemas.microsoft.com/office/drawing/2014/main" id="{BE3E7446-4093-8D1A-2667-9300F1BFEFB8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10477500" y="5754687"/>
            <a:ext cx="0" cy="587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" name="Connecteur droit 171">
            <a:extLst>
              <a:ext uri="{FF2B5EF4-FFF2-40B4-BE49-F238E27FC236}">
                <a16:creationId xmlns:a16="http://schemas.microsoft.com/office/drawing/2014/main" id="{B86D93B9-8A10-E41E-4E62-FFD1E3EF7A2D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 flipH="1">
            <a:off x="9091613" y="6099175"/>
            <a:ext cx="20208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Connecteur droit 181">
            <a:extLst>
              <a:ext uri="{FF2B5EF4-FFF2-40B4-BE49-F238E27FC236}">
                <a16:creationId xmlns:a16="http://schemas.microsoft.com/office/drawing/2014/main" id="{447D0C30-661B-1131-79FA-3664ECD33A78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11112500" y="6040437"/>
            <a:ext cx="0" cy="587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5" name="Connecteur droit 174">
            <a:extLst>
              <a:ext uri="{FF2B5EF4-FFF2-40B4-BE49-F238E27FC236}">
                <a16:creationId xmlns:a16="http://schemas.microsoft.com/office/drawing/2014/main" id="{8DB3ADB8-9CFC-9BAE-BC1A-B2A19D1B5575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11112500" y="5846762"/>
            <a:ext cx="0" cy="571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" name="Connecteur droit 169">
            <a:extLst>
              <a:ext uri="{FF2B5EF4-FFF2-40B4-BE49-F238E27FC236}">
                <a16:creationId xmlns:a16="http://schemas.microsoft.com/office/drawing/2014/main" id="{EAF99B7F-0440-6BFF-F289-10422E43B706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8358188" y="5846763"/>
            <a:ext cx="19018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" name="Connecteur droit 170">
            <a:extLst>
              <a:ext uri="{FF2B5EF4-FFF2-40B4-BE49-F238E27FC236}">
                <a16:creationId xmlns:a16="http://schemas.microsoft.com/office/drawing/2014/main" id="{FCE2E39A-98FA-5CDB-E92C-AC87C05F1CBA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10694989" y="5846763"/>
            <a:ext cx="4175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Espace réservé du texte 2">
            <a:extLst>
              <a:ext uri="{FF2B5EF4-FFF2-40B4-BE49-F238E27FC236}">
                <a16:creationId xmlns:a16="http://schemas.microsoft.com/office/drawing/2014/main" id="{D425A53E-F765-46F1-5535-B027FA1AC24B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5768975" y="5727700"/>
            <a:ext cx="1127125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12B0EBD-F0A0-4967-9847-C6582F172BDF}" type="datetime'M''''''o''''''''yen''''''n''''''''e'' c''a''binet'''''''''">
              <a:rPr lang="fr-FR" altLang="en-US" sz="1050" b="1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oyenne cabinet</a:t>
            </a:fld>
            <a:endParaRPr lang="fr-FR" sz="1050" b="1"/>
          </a:p>
        </p:txBody>
      </p:sp>
      <p:sp>
        <p:nvSpPr>
          <p:cNvPr id="46" name="Espace réservé du texte 2">
            <a:extLst>
              <a:ext uri="{FF2B5EF4-FFF2-40B4-BE49-F238E27FC236}">
                <a16:creationId xmlns:a16="http://schemas.microsoft.com/office/drawing/2014/main" id="{4ABCA4CB-835E-82C6-A189-8E97B89FB048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5021263" y="5981700"/>
            <a:ext cx="1874838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50" b="1"/>
              <a:t>Cabinet avec balnéothérapie</a:t>
            </a:r>
          </a:p>
        </p:txBody>
      </p:sp>
      <p:sp>
        <p:nvSpPr>
          <p:cNvPr id="162" name="Espace réservé du texte 2">
            <a:extLst>
              <a:ext uri="{FF2B5EF4-FFF2-40B4-BE49-F238E27FC236}">
                <a16:creationId xmlns:a16="http://schemas.microsoft.com/office/drawing/2014/main" id="{15BAFCAA-5171-ABF5-F4F9-0CBD7DFA33EE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auto">
          <a:xfrm>
            <a:off x="10206039" y="5784851"/>
            <a:ext cx="544513" cy="193675"/>
          </a:xfrm>
          <a:prstGeom prst="ellipse">
            <a:avLst/>
          </a:prstGeom>
          <a:noFill/>
          <a:ln w="9525" cmpd="sng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mpd="sng">
                <a:solidFill>
                  <a:schemeClr val="tx1"/>
                </a:solidFill>
              </a14:hiddenLine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64C04B-C09C-4134-B3B6-AFAEAFDCA294}" type="datetime'+''1''''6''''''''''''''''''''''''''''1''''''''''''''''%'">
              <a:rPr lang="fr-FR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61%</a:t>
            </a:fld>
            <a:endParaRPr lang="fr-FR" sz="1000"/>
          </a:p>
        </p:txBody>
      </p:sp>
      <p:sp>
        <p:nvSpPr>
          <p:cNvPr id="168" name="Espace réservé du texte 2">
            <a:extLst>
              <a:ext uri="{FF2B5EF4-FFF2-40B4-BE49-F238E27FC236}">
                <a16:creationId xmlns:a16="http://schemas.microsoft.com/office/drawing/2014/main" id="{14B633C4-DF0F-CAC8-0F96-A46C7FEB44FF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auto">
          <a:xfrm>
            <a:off x="10826750" y="5875339"/>
            <a:ext cx="573088" cy="193675"/>
          </a:xfrm>
          <a:prstGeom prst="ellipse">
            <a:avLst/>
          </a:prstGeom>
          <a:noFill/>
          <a:ln w="9525" cmpd="sng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mpd="sng">
                <a:solidFill>
                  <a:schemeClr val="tx1"/>
                </a:solidFill>
              </a14:hiddenLine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1678B5-5423-4912-9BF0-AA6D0B4C5F29}" type="datetime'''''''+''''''''1''''''''0''''0''''%'''''''''''">
              <a:rPr lang="fr-FR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00%</a:t>
            </a:fld>
            <a:endParaRPr lang="fr-FR" sz="1000"/>
          </a:p>
        </p:txBody>
      </p:sp>
      <p:sp>
        <p:nvSpPr>
          <p:cNvPr id="140" name="Espace réservé du pied de page 3">
            <a:extLst>
              <a:ext uri="{FF2B5EF4-FFF2-40B4-BE49-F238E27FC236}">
                <a16:creationId xmlns:a16="http://schemas.microsoft.com/office/drawing/2014/main" id="{DC90348F-ECAD-02CD-657A-04C1FC5F3166}"/>
              </a:ext>
            </a:extLst>
          </p:cNvPr>
          <p:cNvSpPr txBox="1">
            <a:spLocks/>
          </p:cNvSpPr>
          <p:nvPr/>
        </p:nvSpPr>
        <p:spPr>
          <a:xfrm>
            <a:off x="1442301" y="6179795"/>
            <a:ext cx="8327174" cy="400050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fr-FR"/>
            </a:defPPr>
            <a:lvl1pPr>
              <a:defRPr lang="fr-FR" sz="1000" i="0" smtClean="0">
                <a:solidFill>
                  <a:schemeClr val="bg2">
                    <a:lumMod val="75000"/>
                  </a:schemeClr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DEEE : Déchets d'équipements électriques et électroniques</a:t>
            </a:r>
          </a:p>
        </p:txBody>
      </p:sp>
    </p:spTree>
    <p:extLst>
      <p:ext uri="{BB962C8B-B14F-4D97-AF65-F5344CB8AC3E}">
        <p14:creationId xmlns:p14="http://schemas.microsoft.com/office/powerpoint/2010/main" val="10232833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F058E77E-D1F4-0E49-901B-40D9271241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>
                <a:latin typeface="CocogooseProNarrow Darkmode" pitchFamily="2" charset="0"/>
              </a:rPr>
              <a:t>Sommaire</a:t>
            </a:r>
          </a:p>
        </p:txBody>
      </p:sp>
      <p:sp>
        <p:nvSpPr>
          <p:cNvPr id="9" name="Menu1">
            <a:extLst>
              <a:ext uri="{FF2B5EF4-FFF2-40B4-BE49-F238E27FC236}">
                <a16:creationId xmlns:a16="http://schemas.microsoft.com/office/drawing/2014/main" id="{E3C66D49-F770-C646-A5AD-2AE10F7C1F5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88075" y="2388212"/>
            <a:ext cx="5464175" cy="482309"/>
          </a:xfr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fr-FR" b="1"/>
              <a:t>1.	 Présentation du travail réalisé</a:t>
            </a:r>
          </a:p>
        </p:txBody>
      </p:sp>
      <p:sp>
        <p:nvSpPr>
          <p:cNvPr id="10" name="Menu2">
            <a:extLst>
              <a:ext uri="{FF2B5EF4-FFF2-40B4-BE49-F238E27FC236}">
                <a16:creationId xmlns:a16="http://schemas.microsoft.com/office/drawing/2014/main" id="{CE7003ED-BB09-A546-9F94-889233EC27C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8075" y="2969571"/>
            <a:ext cx="5464175" cy="482309"/>
          </a:xfr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fr-FR"/>
              <a:t>2.	 Principaux résultats de l’étude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B6C1E6A5-3C3A-834B-9473-37BD75E25FAC}"/>
              </a:ext>
            </a:extLst>
          </p:cNvPr>
          <p:cNvCxnSpPr>
            <a:cxnSpLocks/>
          </p:cNvCxnSpPr>
          <p:nvPr/>
        </p:nvCxnSpPr>
        <p:spPr>
          <a:xfrm>
            <a:off x="6188075" y="2920046"/>
            <a:ext cx="546417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8700B20C-380D-6041-82C3-24E557ED294F}"/>
              </a:ext>
            </a:extLst>
          </p:cNvPr>
          <p:cNvCxnSpPr>
            <a:cxnSpLocks/>
          </p:cNvCxnSpPr>
          <p:nvPr/>
        </p:nvCxnSpPr>
        <p:spPr>
          <a:xfrm>
            <a:off x="6188075" y="3501405"/>
            <a:ext cx="546417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2625147A-5AA0-5EE6-9703-B27CEB68BD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B5A6716-DBF2-AF4C-9665-1BA53E8D7A19}" type="slidenum">
              <a:rPr lang="fr-FR" smtClean="0">
                <a:latin typeface="CocogooseProNarrow Light" pitchFamily="2" charset="0"/>
              </a:rPr>
              <a:pPr/>
              <a:t>2</a:t>
            </a:fld>
            <a:endParaRPr lang="fr-FR">
              <a:latin typeface="CocogooseProNarrow Light" pitchFamily="2" charset="0"/>
            </a:endParaRPr>
          </a:p>
        </p:txBody>
      </p:sp>
      <p:sp>
        <p:nvSpPr>
          <p:cNvPr id="12" name="Menu2">
            <a:extLst>
              <a:ext uri="{FF2B5EF4-FFF2-40B4-BE49-F238E27FC236}">
                <a16:creationId xmlns:a16="http://schemas.microsoft.com/office/drawing/2014/main" id="{2582F939-FB7B-78DD-F528-4EDF73309540}"/>
              </a:ext>
            </a:extLst>
          </p:cNvPr>
          <p:cNvSpPr txBox="1">
            <a:spLocks/>
          </p:cNvSpPr>
          <p:nvPr/>
        </p:nvSpPr>
        <p:spPr>
          <a:xfrm>
            <a:off x="6188075" y="3570951"/>
            <a:ext cx="5464175" cy="48230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>
                <a:tab pos="438150" algn="l"/>
              </a:tabLst>
              <a:defRPr sz="2200" b="0" i="0" baseline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2200" baseline="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="1" i="0" cap="none" baseline="0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fr-FR">
                <a:solidFill>
                  <a:schemeClr val="bg1"/>
                </a:solidFill>
                <a:latin typeface="CocogooseProNarrow Light" pitchFamily="2" charset="0"/>
              </a:rPr>
              <a:t>3.	</a:t>
            </a:r>
            <a:r>
              <a:rPr lang="fr-FR">
                <a:solidFill>
                  <a:schemeClr val="bg1"/>
                </a:solidFill>
              </a:rPr>
              <a:t> </a:t>
            </a:r>
            <a:r>
              <a:rPr lang="fr-FR">
                <a:solidFill>
                  <a:schemeClr val="bg1"/>
                </a:solidFill>
                <a:latin typeface="CocogooseProNarrow Light" pitchFamily="2" charset="0"/>
              </a:rPr>
              <a:t>Présentation de l’outil web</a:t>
            </a:r>
          </a:p>
        </p:txBody>
      </p:sp>
      <p:pic>
        <p:nvPicPr>
          <p:cNvPr id="2" name="Image 1" descr="Une image contenant Police, Graphique, logo, graphisme&#10;&#10;Description générée automatiquement">
            <a:extLst>
              <a:ext uri="{FF2B5EF4-FFF2-40B4-BE49-F238E27FC236}">
                <a16:creationId xmlns:a16="http://schemas.microsoft.com/office/drawing/2014/main" id="{71289F51-EADC-B76C-8772-1D9666B240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9767" y="2405588"/>
            <a:ext cx="4782089" cy="2046437"/>
          </a:xfrm>
          <a:prstGeom prst="rect">
            <a:avLst/>
          </a:prstGeom>
        </p:spPr>
      </p:pic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17FE0D14-7339-451B-22AF-C68A928ED1C0}"/>
              </a:ext>
            </a:extLst>
          </p:cNvPr>
          <p:cNvCxnSpPr>
            <a:cxnSpLocks/>
          </p:cNvCxnSpPr>
          <p:nvPr/>
        </p:nvCxnSpPr>
        <p:spPr>
          <a:xfrm>
            <a:off x="6188075" y="4053259"/>
            <a:ext cx="546417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enu2">
            <a:extLst>
              <a:ext uri="{FF2B5EF4-FFF2-40B4-BE49-F238E27FC236}">
                <a16:creationId xmlns:a16="http://schemas.microsoft.com/office/drawing/2014/main" id="{2FC71495-359D-7F63-9395-7B40BBBBE90A}"/>
              </a:ext>
            </a:extLst>
          </p:cNvPr>
          <p:cNvSpPr txBox="1">
            <a:spLocks/>
          </p:cNvSpPr>
          <p:nvPr/>
        </p:nvSpPr>
        <p:spPr>
          <a:xfrm>
            <a:off x="6188075" y="4122805"/>
            <a:ext cx="5464175" cy="48230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fr-FR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>
                <a:tab pos="438150" algn="l"/>
              </a:tabLst>
              <a:defRPr sz="2200" b="0" i="0" baseline="0">
                <a:solidFill>
                  <a:schemeClr val="bg1"/>
                </a:solidFill>
                <a:latin typeface="CocogooseProNarrow Light" pitchFamily="2" charset="0"/>
              </a:defRPr>
            </a:lvl1pPr>
            <a:lvl2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2200" baseline="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="1" i="0" cap="none" baseline="0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fr-FR"/>
              <a:t>4.    Questions – réponses</a:t>
            </a:r>
          </a:p>
        </p:txBody>
      </p:sp>
    </p:spTree>
    <p:extLst>
      <p:ext uri="{BB962C8B-B14F-4D97-AF65-F5344CB8AC3E}">
        <p14:creationId xmlns:p14="http://schemas.microsoft.com/office/powerpoint/2010/main" val="6240797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think-cell data - do not delete" hidden="1">
            <a:extLst>
              <a:ext uri="{FF2B5EF4-FFF2-40B4-BE49-F238E27FC236}">
                <a16:creationId xmlns:a16="http://schemas.microsoft.com/office/drawing/2014/main" id="{232BAD15-1A59-FFBB-98E6-318890653C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87255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8" imgW="7772400" imgH="10058400" progId="TCLayout.ActiveDocument.1">
                  <p:embed/>
                </p:oleObj>
              </mc:Choice>
              <mc:Fallback>
                <p:oleObj name="Diapositive think-cell" r:id="rId38" imgW="7772400" imgH="10058400" progId="TCLayout.ActiveDocument.1">
                  <p:embed/>
                  <p:pic>
                    <p:nvPicPr>
                      <p:cNvPr id="3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2BAD15-1A59-FFBB-98E6-318890653C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5" name="Rectangle : coins arrondis 364">
            <a:extLst>
              <a:ext uri="{FF2B5EF4-FFF2-40B4-BE49-F238E27FC236}">
                <a16:creationId xmlns:a16="http://schemas.microsoft.com/office/drawing/2014/main" id="{C2AF2531-AA7A-2F95-09B9-21655BC9ADC7}"/>
              </a:ext>
            </a:extLst>
          </p:cNvPr>
          <p:cNvSpPr/>
          <p:nvPr/>
        </p:nvSpPr>
        <p:spPr>
          <a:xfrm>
            <a:off x="8505733" y="1576712"/>
            <a:ext cx="3211470" cy="4587551"/>
          </a:xfrm>
          <a:prstGeom prst="roundRect">
            <a:avLst>
              <a:gd name="adj" fmla="val 369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tabLst>
                <a:tab pos="431800" algn="l"/>
              </a:tabLst>
            </a:pPr>
            <a:r>
              <a:rPr lang="fr-FR" sz="1400" b="1">
                <a:solidFill>
                  <a:schemeClr val="tx2"/>
                </a:solidFill>
              </a:rPr>
              <a:t>La restauration représente 61% des achats de biens 	                      </a:t>
            </a:r>
            <a:r>
              <a:rPr lang="fr-FR" sz="1400">
                <a:solidFill>
                  <a:schemeClr val="tx2"/>
                </a:solidFill>
              </a:rPr>
              <a:t>(%, kgCO</a:t>
            </a:r>
            <a:r>
              <a:rPr lang="fr-FR" sz="1400" baseline="-25000">
                <a:solidFill>
                  <a:schemeClr val="tx2"/>
                </a:solidFill>
              </a:rPr>
              <a:t>2</a:t>
            </a:r>
            <a:r>
              <a:rPr lang="fr-FR" sz="1400">
                <a:solidFill>
                  <a:schemeClr val="tx2"/>
                </a:solidFill>
              </a:rPr>
              <a:t>e/séance)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02419CE-6C65-73B5-E610-AFF9FCACE3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B5A6716-DBF2-AF4C-9665-1BA53E8D7A19}" type="slidenum">
              <a:rPr lang="fr-FR" smtClean="0"/>
              <a:pPr/>
              <a:t>20</a:t>
            </a:fld>
            <a:endParaRPr lang="fr-FR"/>
          </a:p>
        </p:txBody>
      </p:sp>
      <p:sp>
        <p:nvSpPr>
          <p:cNvPr id="3" name="Espace réservé du numéro de diapositive 3">
            <a:extLst>
              <a:ext uri="{FF2B5EF4-FFF2-40B4-BE49-F238E27FC236}">
                <a16:creationId xmlns:a16="http://schemas.microsoft.com/office/drawing/2014/main" id="{2CBDC3CD-0906-65F7-159F-F709FB406DDB}"/>
              </a:ext>
            </a:extLst>
          </p:cNvPr>
          <p:cNvSpPr txBox="1">
            <a:spLocks/>
          </p:cNvSpPr>
          <p:nvPr/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5A6716-DBF2-AF4C-9665-1BA53E8D7A19}" type="slidenum">
              <a:rPr lang="fr-FR" smtClean="0"/>
              <a:pPr/>
              <a:t>20</a:t>
            </a:fld>
            <a:endParaRPr lang="fr-FR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8637579B-AE38-7EE1-FEF1-AB2B6FF8E47E}"/>
              </a:ext>
            </a:extLst>
          </p:cNvPr>
          <p:cNvSpPr/>
          <p:nvPr/>
        </p:nvSpPr>
        <p:spPr>
          <a:xfrm>
            <a:off x="474799" y="1576713"/>
            <a:ext cx="3588243" cy="4593177"/>
          </a:xfrm>
          <a:prstGeom prst="roundRect">
            <a:avLst>
              <a:gd name="adj" fmla="val 369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tabLst>
                <a:tab pos="431800" algn="l"/>
              </a:tabLst>
            </a:pPr>
            <a:r>
              <a:rPr lang="fr-FR" b="1">
                <a:solidFill>
                  <a:schemeClr val="tx2"/>
                </a:solidFill>
              </a:rPr>
              <a:t>Empreinte carbone d’une séance au cabinet                      </a:t>
            </a:r>
            <a:r>
              <a:rPr lang="fr-FR" sz="1400">
                <a:solidFill>
                  <a:schemeClr val="tx2"/>
                </a:solidFill>
              </a:rPr>
              <a:t>(% du total)</a:t>
            </a:r>
          </a:p>
        </p:txBody>
      </p:sp>
      <p:graphicFrame>
        <p:nvGraphicFramePr>
          <p:cNvPr id="30" name="Chart 3">
            <a:extLst>
              <a:ext uri="{FF2B5EF4-FFF2-40B4-BE49-F238E27FC236}">
                <a16:creationId xmlns:a16="http://schemas.microsoft.com/office/drawing/2014/main" id="{F9E95484-5B28-FB2D-7A5E-EDF1F574463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4281400"/>
              </p:ext>
            </p:extLst>
          </p:nvPr>
        </p:nvGraphicFramePr>
        <p:xfrm>
          <a:off x="815975" y="2085975"/>
          <a:ext cx="2768600" cy="3287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C199781D-BFD7-B2B5-E059-5FD78B5177F2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2646363" y="2843214"/>
            <a:ext cx="442913" cy="4413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C3D4E4BA-E37F-450C-2FAA-3860CCDFAA6E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2643188" y="2836863"/>
            <a:ext cx="441325" cy="4460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8" name="Espace réservé du texte 4">
            <a:extLst>
              <a:ext uri="{FF2B5EF4-FFF2-40B4-BE49-F238E27FC236}">
                <a16:creationId xmlns:a16="http://schemas.microsoft.com/office/drawing/2014/main" id="{02FA7B1B-4F3D-56FE-2877-BEAF8483150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2728913" y="2770188"/>
            <a:ext cx="2778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C2FDE94B-367C-4B6E-98AC-FE8A451A201A}" type="datetime'''''''''''''''''''''''''''''''''''1''''''''''''''''%'''''''''">
              <a:rPr lang="fr-FR" altLang="en-US" smtClean="0">
                <a:effectLst/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1%</a:t>
            </a:fld>
            <a:endParaRPr lang="fr-FR">
              <a:latin typeface="+mn-lt"/>
            </a:endParaRPr>
          </a:p>
        </p:txBody>
      </p:sp>
      <p:sp useBgFill="1">
        <p:nvSpPr>
          <p:cNvPr id="9" name="Espace réservé du texte 4">
            <a:extLst>
              <a:ext uri="{FF2B5EF4-FFF2-40B4-BE49-F238E27FC236}">
                <a16:creationId xmlns:a16="http://schemas.microsoft.com/office/drawing/2014/main" id="{8107FC99-B4E1-DB1D-E180-F10E2E70B1CE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2641600" y="2962275"/>
            <a:ext cx="3032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2D27DE9D-12AC-42FB-AAAF-CE98AEFFA43F}" type="datetime'''''''''2''''''''''''''''''''%'''">
              <a:rPr lang="fr-FR" altLang="en-US" smtClean="0">
                <a:effectLst/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2%</a:t>
            </a:fld>
            <a:endParaRPr lang="fr-FR">
              <a:latin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C334783-6228-D0A3-CEAA-86D00710DB49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565150" y="5868988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F7C5AD-2F17-8B5B-4311-9824DA456AF3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65150" y="5197475"/>
            <a:ext cx="214313" cy="160338"/>
          </a:xfrm>
          <a:prstGeom prst="rect">
            <a:avLst/>
          </a:prstGeom>
          <a:solidFill>
            <a:schemeClr val="accent3"/>
          </a:solidFill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0EED435-B36F-AD71-675C-BAB7D3B8D39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279650" y="5421313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18D7A7F-2AB2-6101-3F04-A4BD42B5D336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565150" y="5421313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B113505-C713-0060-4B9F-607E82E944FF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279650" y="5197475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EE894CF-24D7-3AD4-71F1-18B7CA457CF1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565150" y="5645150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EDB9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5EB1102-A02C-988F-D8AA-172A45095722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279650" y="5645150"/>
            <a:ext cx="214313" cy="160338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Espace réservé du texte 4">
            <a:extLst>
              <a:ext uri="{FF2B5EF4-FFF2-40B4-BE49-F238E27FC236}">
                <a16:creationId xmlns:a16="http://schemas.microsoft.com/office/drawing/2014/main" id="{4652D84B-BF77-06FF-0544-D9B3B59F9BDA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830263" y="5876925"/>
            <a:ext cx="13477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68D2D992-C7BF-46B4-9A41-DB4BD739DBF6}" type="datetime'D''''ép''la''''ce''''m''en''''ts'' ''''pa''t''''.''''''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Déplacements pat.</a:t>
            </a:fld>
            <a:endParaRPr lang="fr-FR" sz="1200">
              <a:latin typeface="+mn-lt"/>
            </a:endParaRP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9D1A4B39-9691-AF84-5BD0-445485E154CE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2544763" y="5205413"/>
            <a:ext cx="12271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15996139-D33A-4A93-903B-AB05E62129BE}" type="datetime'''''E''n''''e''''rg''ie'' d''''e''''s'' ''''''''s''''ites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Energie des sites</a:t>
            </a:fld>
            <a:endParaRPr lang="fr-FR" sz="1200">
              <a:latin typeface="+mn-lt"/>
            </a:endParaRP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D350B7FB-FFF5-64D1-1796-0510DFD460CF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830263" y="5653088"/>
            <a:ext cx="13096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18992112-DBEC-444F-B167-B717718D560B}" type="datetime'''D''épl''ac''em''ents'' ''''p''''r''''o''''''''''''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Déplacements pro</a:t>
            </a:fld>
            <a:endParaRPr lang="fr-FR" sz="1200">
              <a:latin typeface="+mn-lt"/>
            </a:endParaRP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664C87F-786F-3181-99B9-7FE713F3078B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2544763" y="5429250"/>
            <a:ext cx="5969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B729DB70-AAED-4E12-A447-4D06BAEED02B}" type="datetime'''''''''''''''D''''''''''''''''''é''''''ch''e''t''''''s''''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Déchets</a:t>
            </a:fld>
            <a:endParaRPr lang="fr-FR" sz="1200">
              <a:latin typeface="+mn-lt"/>
            </a:endParaRP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5F885019-90FE-DBC8-ED1D-96F92B8E7F88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830263" y="5429250"/>
            <a:ext cx="11144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F9270681-3DF0-4F00-89C4-F180A52DCE9D}" type="datetime'''''''Imm''o''''''''''''''b''il''''i''sa''''''''tio''''n''s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Immobilisations</a:t>
            </a:fld>
            <a:endParaRPr lang="fr-FR" sz="1200">
              <a:latin typeface="+mn-lt"/>
            </a:endParaRP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9AF1E7B3-599C-4D21-596F-48561B25F61D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2544763" y="5653088"/>
            <a:ext cx="11096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6C5F0E72-3CDD-4FF6-8C1C-6AE8F781DECD}" type="datetime'G''''''az'' f''''''r''''i''''g''o''r''i''g''èn''e''''''''''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Gaz frigorigène</a:t>
            </a:fld>
            <a:endParaRPr lang="fr-FR" sz="1200">
              <a:latin typeface="+mn-lt"/>
            </a:endParaRP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2DE383C6-6BAA-7169-6013-127F29476A5A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830263" y="5205413"/>
            <a:ext cx="498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A5663678-01F0-4D21-BBB0-0D43776F05BF}" type="datetime'''''A''''c''''''''''''''''''''ha''t''''''''''s'''''''''''''">
              <a:rPr lang="fr-FR" altLang="en-US" sz="1200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Achats</a:t>
            </a:fld>
            <a:endParaRPr lang="fr-FR" sz="1200">
              <a:latin typeface="+mn-lt"/>
            </a:endParaRPr>
          </a:p>
        </p:txBody>
      </p:sp>
      <p:pic>
        <p:nvPicPr>
          <p:cNvPr id="24" name="Graphique 23" descr="Ligne fléchée : incurvée sens des aiguilles d’une montre avec un remplissage uni">
            <a:extLst>
              <a:ext uri="{FF2B5EF4-FFF2-40B4-BE49-F238E27FC236}">
                <a16:creationId xmlns:a16="http://schemas.microsoft.com/office/drawing/2014/main" id="{6CE42441-6602-E092-8883-8F21DB330057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 rot="6518642">
            <a:off x="3557761" y="1864390"/>
            <a:ext cx="763922" cy="1422181"/>
          </a:xfrm>
          <a:prstGeom prst="rect">
            <a:avLst/>
          </a:prstGeom>
        </p:spPr>
      </p:pic>
      <p:pic>
        <p:nvPicPr>
          <p:cNvPr id="25" name="Picture 3" descr="loupe icon">
            <a:extLst>
              <a:ext uri="{FF2B5EF4-FFF2-40B4-BE49-F238E27FC236}">
                <a16:creationId xmlns:a16="http://schemas.microsoft.com/office/drawing/2014/main" id="{D0C883F6-05FA-974E-1AA6-7C199FE8C9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8521" y="2587341"/>
            <a:ext cx="632957" cy="632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Arc plein 25">
            <a:extLst>
              <a:ext uri="{FF2B5EF4-FFF2-40B4-BE49-F238E27FC236}">
                <a16:creationId xmlns:a16="http://schemas.microsoft.com/office/drawing/2014/main" id="{717C96D5-049A-8BE7-BEBD-8E708893CB0B}"/>
              </a:ext>
            </a:extLst>
          </p:cNvPr>
          <p:cNvSpPr/>
          <p:nvPr/>
        </p:nvSpPr>
        <p:spPr>
          <a:xfrm rot="18273679">
            <a:off x="655092" y="2431965"/>
            <a:ext cx="2877222" cy="2784120"/>
          </a:xfrm>
          <a:prstGeom prst="blockArc">
            <a:avLst>
              <a:gd name="adj1" fmla="val 453763"/>
              <a:gd name="adj2" fmla="val 2668707"/>
              <a:gd name="adj3" fmla="val 25046"/>
            </a:avLst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</a:pPr>
            <a:endParaRPr lang="fr-FR" sz="140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7" name="Titre 2">
            <a:extLst>
              <a:ext uri="{FF2B5EF4-FFF2-40B4-BE49-F238E27FC236}">
                <a16:creationId xmlns:a16="http://schemas.microsoft.com/office/drawing/2014/main" id="{F0014CF7-66B6-34D8-89E7-A4D01FA1EF21}"/>
              </a:ext>
            </a:extLst>
          </p:cNvPr>
          <p:cNvSpPr txBox="1">
            <a:spLocks/>
          </p:cNvSpPr>
          <p:nvPr/>
        </p:nvSpPr>
        <p:spPr>
          <a:xfrm>
            <a:off x="536574" y="314960"/>
            <a:ext cx="11115675" cy="8964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500">
                <a:solidFill>
                  <a:schemeClr val="accent1">
                    <a:lumMod val="40000"/>
                    <a:lumOff val="60000"/>
                  </a:schemeClr>
                </a:solidFill>
              </a:rPr>
              <a:t>Zoom sur les achats | </a:t>
            </a:r>
            <a:r>
              <a:rPr lang="fr-FR" sz="2500"/>
              <a:t>Les achats, représentent 10% de l’empreinte carbone d’une séance au cabinet </a:t>
            </a:r>
          </a:p>
        </p:txBody>
      </p:sp>
      <p:graphicFrame>
        <p:nvGraphicFramePr>
          <p:cNvPr id="38" name="Chart 3">
            <a:extLst>
              <a:ext uri="{FF2B5EF4-FFF2-40B4-BE49-F238E27FC236}">
                <a16:creationId xmlns:a16="http://schemas.microsoft.com/office/drawing/2014/main" id="{E0A59B58-EB40-9838-49E6-B5F6C6D15FFE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146332872"/>
              </p:ext>
            </p:extLst>
          </p:nvPr>
        </p:nvGraphicFramePr>
        <p:xfrm>
          <a:off x="5227638" y="2420938"/>
          <a:ext cx="2713037" cy="319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676FDA00-6472-48EF-8625-555CEC410CCA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5602288" y="5133975"/>
            <a:ext cx="4603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5F4FA731-511F-44D9-8845-3C6F636299AF}" type="datetime'''''Bi''en''''''''''''s'''''''''''''''''''''''''''''''''">
              <a:rPr lang="fr-FR" altLang="en-US" smtClean="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Biens</a:t>
            </a:fld>
            <a:endParaRPr lang="fr-FR">
              <a:latin typeface="+mn-lt"/>
            </a:endParaRPr>
          </a:p>
        </p:txBody>
      </p:sp>
      <p:sp>
        <p:nvSpPr>
          <p:cNvPr id="379" name="Espace réservé du texte 4">
            <a:extLst>
              <a:ext uri="{FF2B5EF4-FFF2-40B4-BE49-F238E27FC236}">
                <a16:creationId xmlns:a16="http://schemas.microsoft.com/office/drawing/2014/main" id="{46199996-52F8-9E25-6F56-349CB3EDF47D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7105650" y="2708275"/>
            <a:ext cx="723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CocogooseProNarrow Light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tabLst/>
              <a:defRPr/>
            </a:pPr>
            <a:fld id="{ECFDBA8D-F8C1-4BE8-923A-C6545A6647B1}" type="datetime'''''''''S''er''''''''v''i''''''''''ce''''''''s'''''''''">
              <a:rPr lang="fr-FR" altLang="en-US" smtClean="0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tabLst/>
                <a:defRPr/>
              </a:pPr>
              <a:t>Services</a:t>
            </a:fld>
            <a:endParaRPr lang="fr-FR">
              <a:latin typeface="+mn-lt"/>
            </a:endParaRPr>
          </a:p>
        </p:txBody>
      </p:sp>
      <p:sp>
        <p:nvSpPr>
          <p:cNvPr id="31" name="Rectangle : coins arrondis 30">
            <a:extLst>
              <a:ext uri="{FF2B5EF4-FFF2-40B4-BE49-F238E27FC236}">
                <a16:creationId xmlns:a16="http://schemas.microsoft.com/office/drawing/2014/main" id="{A2D8521C-E0C2-D57B-3FA4-DC6F030CDB48}"/>
              </a:ext>
            </a:extLst>
          </p:cNvPr>
          <p:cNvSpPr/>
          <p:nvPr/>
        </p:nvSpPr>
        <p:spPr>
          <a:xfrm>
            <a:off x="4932548" y="1576713"/>
            <a:ext cx="3262012" cy="721644"/>
          </a:xfrm>
          <a:prstGeom prst="roundRect">
            <a:avLst>
              <a:gd name="adj" fmla="val 1923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Bef>
                <a:spcPts val="1000"/>
              </a:spcBef>
              <a:buClr>
                <a:srgbClr val="FF554B"/>
              </a:buClr>
              <a:buSzPct val="100000"/>
              <a:tabLst>
                <a:tab pos="431800" algn="l"/>
              </a:tabLst>
            </a:pPr>
            <a:r>
              <a:rPr lang="fr-FR" b="1">
                <a:solidFill>
                  <a:schemeClr val="accent3"/>
                </a:solidFill>
              </a:rPr>
              <a:t>Achats de biens et de services</a:t>
            </a:r>
            <a:r>
              <a:rPr lang="fr-FR" sz="1400" b="1">
                <a:solidFill>
                  <a:schemeClr val="accent3"/>
                </a:solidFill>
              </a:rPr>
              <a:t> </a:t>
            </a:r>
            <a:r>
              <a:rPr lang="fr-FR" sz="1400">
                <a:solidFill>
                  <a:schemeClr val="accent3"/>
                </a:solidFill>
              </a:rPr>
              <a:t>(% du total)</a:t>
            </a:r>
            <a:endParaRPr lang="fr-FR">
              <a:solidFill>
                <a:schemeClr val="accent3"/>
              </a:solidFill>
            </a:endParaRP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DF9A403D-3C2A-14B6-1767-3C746F4AEBEB}"/>
              </a:ext>
            </a:extLst>
          </p:cNvPr>
          <p:cNvSpPr txBox="1"/>
          <p:nvPr/>
        </p:nvSpPr>
        <p:spPr>
          <a:xfrm>
            <a:off x="6001473" y="3838966"/>
            <a:ext cx="1163780" cy="40011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1400" b="1"/>
              <a:t>0,38 </a:t>
            </a:r>
          </a:p>
          <a:p>
            <a:pPr algn="ctr"/>
            <a:r>
              <a:rPr lang="fr-FR" sz="1200"/>
              <a:t>kgCO</a:t>
            </a:r>
            <a:r>
              <a:rPr lang="fr-FR" sz="1200" baseline="-25000"/>
              <a:t>2</a:t>
            </a:r>
            <a:r>
              <a:rPr lang="fr-FR" sz="1200"/>
              <a:t>e/séance</a:t>
            </a:r>
          </a:p>
        </p:txBody>
      </p:sp>
      <p:graphicFrame>
        <p:nvGraphicFramePr>
          <p:cNvPr id="42" name="Chart 3">
            <a:extLst>
              <a:ext uri="{FF2B5EF4-FFF2-40B4-BE49-F238E27FC236}">
                <a16:creationId xmlns:a16="http://schemas.microsoft.com/office/drawing/2014/main" id="{3CFA2AB9-2DE9-27A3-3DEA-CD1F927869BB}"/>
              </a:ext>
            </a:extLst>
          </p:cNvPr>
          <p:cNvGraphicFramePr/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900747066"/>
              </p:ext>
            </p:extLst>
          </p:nvPr>
        </p:nvGraphicFramePr>
        <p:xfrm>
          <a:off x="8102600" y="2147888"/>
          <a:ext cx="2198688" cy="3976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cxnSp>
        <p:nvCxnSpPr>
          <p:cNvPr id="376" name="Connecteur droit 375">
            <a:extLst>
              <a:ext uri="{FF2B5EF4-FFF2-40B4-BE49-F238E27FC236}">
                <a16:creationId xmlns:a16="http://schemas.microsoft.com/office/drawing/2014/main" id="{950ED703-6388-301C-7758-56F5F4E02407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 flipH="1">
            <a:off x="9555163" y="2828925"/>
            <a:ext cx="58738" cy="777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8" name="Espace réservé du texte 2">
            <a:extLst>
              <a:ext uri="{FF2B5EF4-FFF2-40B4-BE49-F238E27FC236}">
                <a16:creationId xmlns:a16="http://schemas.microsoft.com/office/drawing/2014/main" id="{CC9DA6C8-BDE9-4C7F-0999-FE4E52CDC6C4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9639300" y="4513263"/>
            <a:ext cx="9064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F41DD6D-284B-4581-98D0-7ABFB41CAF20}" type="datetime'''''R''''''''e''p''''a''s'' ''''''''''''boe''''''u''''''f'''">
              <a:rPr lang="fr-F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pas boeuf</a:t>
            </a:fld>
            <a:endParaRPr lang="fr-FR" sz="1200"/>
          </a:p>
        </p:txBody>
      </p:sp>
      <p:sp>
        <p:nvSpPr>
          <p:cNvPr id="178" name="Espace réservé du texte 2">
            <a:extLst>
              <a:ext uri="{FF2B5EF4-FFF2-40B4-BE49-F238E27FC236}">
                <a16:creationId xmlns:a16="http://schemas.microsoft.com/office/drawing/2014/main" id="{A51FDB37-9050-CC7D-4297-A3C6E4DFE4F5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9639300" y="4168775"/>
            <a:ext cx="14763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1BAFB6A-A1F0-48CF-9AB6-FC026C1EE990}" type="datetime'''Matéri''''''''''''e''''''''l'' ''''e''n'''' LO''A/''''LLD'">
              <a:rPr lang="fr-F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atériel en LOA/LLD</a:t>
            </a:fld>
            <a:endParaRPr lang="fr-FR" sz="1200"/>
          </a:p>
        </p:txBody>
      </p:sp>
      <p:sp>
        <p:nvSpPr>
          <p:cNvPr id="179" name="Espace réservé du texte 2">
            <a:extLst>
              <a:ext uri="{FF2B5EF4-FFF2-40B4-BE49-F238E27FC236}">
                <a16:creationId xmlns:a16="http://schemas.microsoft.com/office/drawing/2014/main" id="{C6C48551-719C-9284-71DA-A966D92D238A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9639300" y="3840163"/>
            <a:ext cx="939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99CC8DD-F776-4D78-BDC4-F907974F2E5B}" type="datetime'''''''''''''''Re''pa''''''s p''ou''''''''''''le''''''''''t'">
              <a:rPr lang="fr-F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pas poulet</a:t>
            </a:fld>
            <a:endParaRPr lang="fr-FR" sz="1200"/>
          </a:p>
        </p:txBody>
      </p:sp>
      <p:sp>
        <p:nvSpPr>
          <p:cNvPr id="180" name="Espace réservé du texte 2">
            <a:extLst>
              <a:ext uri="{FF2B5EF4-FFF2-40B4-BE49-F238E27FC236}">
                <a16:creationId xmlns:a16="http://schemas.microsoft.com/office/drawing/2014/main" id="{37525519-53F7-CAE2-414A-59EED1570E29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9639300" y="3609975"/>
            <a:ext cx="20050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C2B735C-747C-4C22-8B07-8C5BB72C4A50}" type="datetime'P''a''pi''er ''de'' ta''bl''e de'' mas''''s''a''''''''g''''e'">
              <a:rPr lang="fr-F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apier de table de massage</a:t>
            </a:fld>
            <a:endParaRPr lang="fr-FR" sz="1200"/>
          </a:p>
        </p:txBody>
      </p:sp>
      <p:sp>
        <p:nvSpPr>
          <p:cNvPr id="166" name="Espace réservé du texte 2">
            <a:extLst>
              <a:ext uri="{FF2B5EF4-FFF2-40B4-BE49-F238E27FC236}">
                <a16:creationId xmlns:a16="http://schemas.microsoft.com/office/drawing/2014/main" id="{EDB7385A-219E-6A58-698F-EE393066E238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9639300" y="5332413"/>
            <a:ext cx="9667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76FD443-6083-45E1-AF89-1A16452E64CB}" type="datetime'''''''''''''R''ep''''as'' ''''''''''''''''mo''''''''''yen'''">
              <a:rPr lang="fr-F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pas moyen</a:t>
            </a:fld>
            <a:endParaRPr lang="fr-FR" sz="1200"/>
          </a:p>
        </p:txBody>
      </p:sp>
      <p:sp>
        <p:nvSpPr>
          <p:cNvPr id="182" name="Espace réservé du texte 2">
            <a:extLst>
              <a:ext uri="{FF2B5EF4-FFF2-40B4-BE49-F238E27FC236}">
                <a16:creationId xmlns:a16="http://schemas.microsoft.com/office/drawing/2014/main" id="{46D4BBF9-BBCF-EBEF-63CF-7179FA67F8C2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9639300" y="3178175"/>
            <a:ext cx="1044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93CE1A7-8BA0-4D82-B24F-38F6617F9C83}" type="datetime'''''''R''''''''''e''p''''''as ''''''''p''''ois''s''o''n'''''">
              <a:rPr lang="fr-F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pas poisson</a:t>
            </a:fld>
            <a:endParaRPr lang="fr-FR" sz="1200"/>
          </a:p>
        </p:txBody>
      </p:sp>
      <p:sp>
        <p:nvSpPr>
          <p:cNvPr id="183" name="Espace réservé du texte 2">
            <a:extLst>
              <a:ext uri="{FF2B5EF4-FFF2-40B4-BE49-F238E27FC236}">
                <a16:creationId xmlns:a16="http://schemas.microsoft.com/office/drawing/2014/main" id="{CBD036BA-BC2B-158A-CA77-7FA3938AA383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9639300" y="2962275"/>
            <a:ext cx="11096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1C0ACB1-E103-4060-8B1F-93C2400B72DA}" type="datetime'''''''''''''Co''''n''''somma''''''''''b''''''le''''s'''''">
              <a:rPr lang="fr-F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onsommables</a:t>
            </a:fld>
            <a:endParaRPr lang="fr-FR" sz="1200"/>
          </a:p>
        </p:txBody>
      </p:sp>
      <p:sp>
        <p:nvSpPr>
          <p:cNvPr id="184" name="Espace réservé du texte 2">
            <a:extLst>
              <a:ext uri="{FF2B5EF4-FFF2-40B4-BE49-F238E27FC236}">
                <a16:creationId xmlns:a16="http://schemas.microsoft.com/office/drawing/2014/main" id="{811FD959-F267-0130-B6EB-56A8C04A6AFB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9639300" y="2746375"/>
            <a:ext cx="1689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430CAA8-4637-46DE-AA36-7C8A3D15390C}" type="datetime'Equipe''''ment''s ''''d''''e ''''f''''''i''t''nes''''''''''s'">
              <a:rPr lang="fr-F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quipements de fitness</a:t>
            </a:fld>
            <a:endParaRPr lang="fr-FR" sz="1200"/>
          </a:p>
        </p:txBody>
      </p:sp>
      <p:sp>
        <p:nvSpPr>
          <p:cNvPr id="167" name="Espace réservé du texte 2">
            <a:extLst>
              <a:ext uri="{FF2B5EF4-FFF2-40B4-BE49-F238E27FC236}">
                <a16:creationId xmlns:a16="http://schemas.microsoft.com/office/drawing/2014/main" id="{6AC07080-7483-BE98-BA69-18242832C65D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9639300" y="4873625"/>
            <a:ext cx="8096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B6F6048-6536-432F-A6AC-DD85F8D3BB79}" type="datetime'''Rep''as'''''''' ''''''''''p''o''r''''''''''''''c'''''''''''">
              <a:rPr lang="fr-F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pas porc</a:t>
            </a:fld>
            <a:endParaRPr lang="fr-FR" sz="1200"/>
          </a:p>
        </p:txBody>
      </p:sp>
      <p:sp>
        <p:nvSpPr>
          <p:cNvPr id="268" name="Espace réservé du texte 2">
            <a:extLst>
              <a:ext uri="{FF2B5EF4-FFF2-40B4-BE49-F238E27FC236}">
                <a16:creationId xmlns:a16="http://schemas.microsoft.com/office/drawing/2014/main" id="{8A60AA14-B916-FADF-3276-73A01A2116B9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9639300" y="2530475"/>
            <a:ext cx="4699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81FCAB1-B80C-4720-8517-23C50D8D5C6C}" type="datetime'''''Au''''''''''''''''''''''''''''t''''''''''r''es'''">
              <a:rPr lang="fr-F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utres</a:t>
            </a:fld>
            <a:endParaRPr lang="fr-FR" sz="1200"/>
          </a:p>
        </p:txBody>
      </p:sp>
      <p:sp>
        <p:nvSpPr>
          <p:cNvPr id="181" name="Espace réservé du texte 2">
            <a:extLst>
              <a:ext uri="{FF2B5EF4-FFF2-40B4-BE49-F238E27FC236}">
                <a16:creationId xmlns:a16="http://schemas.microsoft.com/office/drawing/2014/main" id="{8FB657A4-7DAD-759A-2911-192B67C893B8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9639300" y="3394075"/>
            <a:ext cx="12541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E545CB6-8808-42F4-8C89-56B1C683E25B}" type="datetime'''Rep''''''a''s'''' ''''v''ég''''éta''''r''''''''ie''''''n'''">
              <a:rPr lang="fr-F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pas végétarien</a:t>
            </a:fld>
            <a:endParaRPr lang="fr-FR" sz="1200"/>
          </a:p>
        </p:txBody>
      </p:sp>
      <p:sp>
        <p:nvSpPr>
          <p:cNvPr id="352" name="Espace réservé du pied de page 1">
            <a:extLst>
              <a:ext uri="{FF2B5EF4-FFF2-40B4-BE49-F238E27FC236}">
                <a16:creationId xmlns:a16="http://schemas.microsoft.com/office/drawing/2014/main" id="{89172AB3-0EA7-DE9B-2961-12CCAF737C98}"/>
              </a:ext>
            </a:extLst>
          </p:cNvPr>
          <p:cNvSpPr txBox="1">
            <a:spLocks/>
          </p:cNvSpPr>
          <p:nvPr/>
        </p:nvSpPr>
        <p:spPr>
          <a:xfrm>
            <a:off x="1516827" y="6179795"/>
            <a:ext cx="8252647" cy="400050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fr-FR"/>
            </a:defPPr>
            <a:lvl1pPr>
              <a:defRPr lang="fr-FR" sz="1000" i="0" smtClean="0">
                <a:solidFill>
                  <a:schemeClr val="bg2">
                    <a:lumMod val="75000"/>
                  </a:schemeClr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Consommables : crèmes, huile, argile, patchs</a:t>
            </a:r>
          </a:p>
          <a:p>
            <a:r>
              <a:rPr lang="fr-FR"/>
              <a:t>LOA/LDD : Location avec Option d’Achat/Location Longue Durée</a:t>
            </a:r>
          </a:p>
        </p:txBody>
      </p:sp>
      <p:pic>
        <p:nvPicPr>
          <p:cNvPr id="382" name="Graphique 381" descr="Ligne fléchée : incurvée sens des aiguilles d’une montre avec un remplissage uni">
            <a:extLst>
              <a:ext uri="{FF2B5EF4-FFF2-40B4-BE49-F238E27FC236}">
                <a16:creationId xmlns:a16="http://schemas.microsoft.com/office/drawing/2014/main" id="{835894A3-4C65-16FB-1170-E7FF991035E7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 rot="5400000" flipH="1">
            <a:off x="7731364" y="3838167"/>
            <a:ext cx="691817" cy="1287944"/>
          </a:xfrm>
          <a:prstGeom prst="rect">
            <a:avLst/>
          </a:prstGeom>
        </p:spPr>
      </p:pic>
      <p:sp>
        <p:nvSpPr>
          <p:cNvPr id="33" name="ZoneTexte 32">
            <a:extLst>
              <a:ext uri="{FF2B5EF4-FFF2-40B4-BE49-F238E27FC236}">
                <a16:creationId xmlns:a16="http://schemas.microsoft.com/office/drawing/2014/main" id="{637A838B-3ECC-C20F-7EE8-BD56F5D19A4C}"/>
              </a:ext>
            </a:extLst>
          </p:cNvPr>
          <p:cNvSpPr txBox="1"/>
          <p:nvPr/>
        </p:nvSpPr>
        <p:spPr>
          <a:xfrm>
            <a:off x="8512171" y="5710645"/>
            <a:ext cx="13901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b="1"/>
              <a:t>Achats de biens</a:t>
            </a:r>
          </a:p>
        </p:txBody>
      </p:sp>
    </p:spTree>
    <p:extLst>
      <p:ext uri="{BB962C8B-B14F-4D97-AF65-F5344CB8AC3E}">
        <p14:creationId xmlns:p14="http://schemas.microsoft.com/office/powerpoint/2010/main" val="21897172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D166EF-542E-1830-0339-270D4DB882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50C0DD0D-340C-72EE-C9CE-2BE02E83C3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>
                <a:latin typeface="CocogooseProNarrow Darkmode" pitchFamily="2" charset="0"/>
              </a:rPr>
              <a:t>Sommaire</a:t>
            </a:r>
          </a:p>
        </p:txBody>
      </p:sp>
      <p:sp>
        <p:nvSpPr>
          <p:cNvPr id="9" name="Menu1">
            <a:extLst>
              <a:ext uri="{FF2B5EF4-FFF2-40B4-BE49-F238E27FC236}">
                <a16:creationId xmlns:a16="http://schemas.microsoft.com/office/drawing/2014/main" id="{56DD6B1B-C552-0174-DB15-FAF054413A4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88075" y="2388212"/>
            <a:ext cx="5464175" cy="482309"/>
          </a:xfr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fr-FR">
                <a:solidFill>
                  <a:schemeClr val="accent1">
                    <a:lumMod val="40000"/>
                    <a:lumOff val="60000"/>
                  </a:schemeClr>
                </a:solidFill>
              </a:rPr>
              <a:t>1.	 Présentation du travail réalisé</a:t>
            </a:r>
          </a:p>
        </p:txBody>
      </p:sp>
      <p:sp>
        <p:nvSpPr>
          <p:cNvPr id="10" name="Menu2">
            <a:extLst>
              <a:ext uri="{FF2B5EF4-FFF2-40B4-BE49-F238E27FC236}">
                <a16:creationId xmlns:a16="http://schemas.microsoft.com/office/drawing/2014/main" id="{B5B63302-9BE6-16B2-0468-5C0B9BC378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8075" y="2969571"/>
            <a:ext cx="5464175" cy="482309"/>
          </a:xfr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fr-FR">
                <a:solidFill>
                  <a:schemeClr val="accent1">
                    <a:lumMod val="40000"/>
                    <a:lumOff val="60000"/>
                  </a:schemeClr>
                </a:solidFill>
              </a:rPr>
              <a:t>2.	 Principaux résultats de l’étude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4D6BA027-EE30-1179-2295-1374A2DFA8F6}"/>
              </a:ext>
            </a:extLst>
          </p:cNvPr>
          <p:cNvCxnSpPr>
            <a:cxnSpLocks/>
          </p:cNvCxnSpPr>
          <p:nvPr/>
        </p:nvCxnSpPr>
        <p:spPr>
          <a:xfrm>
            <a:off x="6188075" y="2920046"/>
            <a:ext cx="546417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754363E0-7AE8-C950-D9B5-0EEF7897993A}"/>
              </a:ext>
            </a:extLst>
          </p:cNvPr>
          <p:cNvCxnSpPr>
            <a:cxnSpLocks/>
          </p:cNvCxnSpPr>
          <p:nvPr/>
        </p:nvCxnSpPr>
        <p:spPr>
          <a:xfrm>
            <a:off x="6188075" y="3501405"/>
            <a:ext cx="546417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6AB1FD04-C9B2-8F29-1B33-E1ED560CF2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5A6716-DBF2-AF4C-9665-1BA53E8D7A1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cogooseProNarrow Light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cogooseProNarrow Light" pitchFamily="2" charset="0"/>
              <a:ea typeface="+mn-ea"/>
              <a:cs typeface="+mn-cs"/>
            </a:endParaRPr>
          </a:p>
        </p:txBody>
      </p:sp>
      <p:sp>
        <p:nvSpPr>
          <p:cNvPr id="12" name="Menu2">
            <a:extLst>
              <a:ext uri="{FF2B5EF4-FFF2-40B4-BE49-F238E27FC236}">
                <a16:creationId xmlns:a16="http://schemas.microsoft.com/office/drawing/2014/main" id="{97E96BB0-7D8A-FED6-94D2-6E16EDCA7E78}"/>
              </a:ext>
            </a:extLst>
          </p:cNvPr>
          <p:cNvSpPr txBox="1">
            <a:spLocks/>
          </p:cNvSpPr>
          <p:nvPr/>
        </p:nvSpPr>
        <p:spPr>
          <a:xfrm>
            <a:off x="6188075" y="3570951"/>
            <a:ext cx="5464175" cy="48230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fr-FR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>
                <a:tab pos="438150" algn="l"/>
              </a:tabLst>
              <a:defRPr sz="2200" b="0" i="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CocogooseProNarrow Light" pitchFamily="2" charset="0"/>
              </a:defRPr>
            </a:lvl1pPr>
            <a:lvl2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2200" baseline="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="1" i="0" cap="none" baseline="0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438150" algn="l"/>
              </a:tabLst>
              <a:defRPr/>
            </a:pPr>
            <a:r>
              <a:rPr kumimoji="0" lang="fr-FR" sz="2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cogooseProNarrow Light" pitchFamily="2" charset="0"/>
                <a:ea typeface="+mn-ea"/>
                <a:cs typeface="+mn-cs"/>
              </a:rPr>
              <a:t>3.	 Présentation de l’outil web</a:t>
            </a:r>
          </a:p>
        </p:txBody>
      </p:sp>
      <p:pic>
        <p:nvPicPr>
          <p:cNvPr id="2" name="Image 1" descr="Une image contenant Police, Graphique, logo, graphisme&#10;&#10;Description générée automatiquement">
            <a:extLst>
              <a:ext uri="{FF2B5EF4-FFF2-40B4-BE49-F238E27FC236}">
                <a16:creationId xmlns:a16="http://schemas.microsoft.com/office/drawing/2014/main" id="{9C887AAF-E844-1180-4F44-825FC8A9BF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9767" y="2405588"/>
            <a:ext cx="4782089" cy="2046437"/>
          </a:xfrm>
          <a:prstGeom prst="rect">
            <a:avLst/>
          </a:prstGeom>
        </p:spPr>
      </p:pic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B026F933-A5AB-6BCE-D002-72318C672C16}"/>
              </a:ext>
            </a:extLst>
          </p:cNvPr>
          <p:cNvCxnSpPr>
            <a:cxnSpLocks/>
          </p:cNvCxnSpPr>
          <p:nvPr/>
        </p:nvCxnSpPr>
        <p:spPr>
          <a:xfrm>
            <a:off x="6188075" y="4053259"/>
            <a:ext cx="546417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enu2">
            <a:extLst>
              <a:ext uri="{FF2B5EF4-FFF2-40B4-BE49-F238E27FC236}">
                <a16:creationId xmlns:a16="http://schemas.microsoft.com/office/drawing/2014/main" id="{C75894CC-E04F-46FF-D42F-E849E2046541}"/>
              </a:ext>
            </a:extLst>
          </p:cNvPr>
          <p:cNvSpPr txBox="1">
            <a:spLocks/>
          </p:cNvSpPr>
          <p:nvPr/>
        </p:nvSpPr>
        <p:spPr>
          <a:xfrm>
            <a:off x="6188075" y="4122805"/>
            <a:ext cx="5464175" cy="48230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fr-FR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>
                <a:tab pos="438150" algn="l"/>
              </a:tabLst>
              <a:defRPr sz="2200" b="0" i="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CocogooseProNarrow Light" pitchFamily="2" charset="0"/>
              </a:defRPr>
            </a:lvl1pPr>
            <a:lvl2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2200" baseline="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="1" i="0" cap="none" baseline="0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438150" algn="l"/>
              </a:tabLst>
              <a:defRPr/>
            </a:pPr>
            <a:r>
              <a:rPr kumimoji="0" lang="fr-FR" sz="2200" b="0" i="0" u="none" strike="noStrike" kern="1200" cap="none" spc="0" normalizeH="0" baseline="0" noProof="0">
                <a:ln>
                  <a:noFill/>
                </a:ln>
                <a:solidFill>
                  <a:srgbClr val="283246">
                    <a:lumMod val="40000"/>
                    <a:lumOff val="60000"/>
                  </a:srgbClr>
                </a:solidFill>
                <a:effectLst/>
                <a:uLnTx/>
                <a:uFillTx/>
                <a:latin typeface="CocogooseProNarrow Light" pitchFamily="2" charset="0"/>
                <a:ea typeface="+mn-ea"/>
                <a:cs typeface="+mn-cs"/>
              </a:rPr>
              <a:t>4.    Questions – réponses</a:t>
            </a:r>
          </a:p>
        </p:txBody>
      </p:sp>
      <p:sp>
        <p:nvSpPr>
          <p:cNvPr id="6" name="Triangle 5">
            <a:extLst>
              <a:ext uri="{FF2B5EF4-FFF2-40B4-BE49-F238E27FC236}">
                <a16:creationId xmlns:a16="http://schemas.microsoft.com/office/drawing/2014/main" id="{65B14196-413A-3B56-121D-ED31ABE83289}"/>
              </a:ext>
            </a:extLst>
          </p:cNvPr>
          <p:cNvSpPr/>
          <p:nvPr/>
        </p:nvSpPr>
        <p:spPr>
          <a:xfrm rot="5400000" flipH="1">
            <a:off x="5747894" y="3693571"/>
            <a:ext cx="274997" cy="237066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cogooseProNarrow Light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27473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65AD882-C199-4D55-8217-E6D4D9164B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02503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7772400" imgH="10058400" progId="TCLayout.ActiveDocument.1">
                  <p:embed/>
                </p:oleObj>
              </mc:Choice>
              <mc:Fallback>
                <p:oleObj name="Diapositive think-cell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5AD882-C199-4D55-8217-E6D4D9164B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68D6BDAA-D073-A10A-DC46-B69C9F9235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B5A6716-DBF2-AF4C-9665-1BA53E8D7A19}" type="slidenum">
              <a:rPr lang="fr-FR" smtClean="0"/>
              <a:pPr/>
              <a:t>22</a:t>
            </a:fld>
            <a:endParaRPr lang="fr-FR"/>
          </a:p>
        </p:txBody>
      </p: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F00DE619-2618-BCF0-B4C8-EEB13244C704}"/>
              </a:ext>
            </a:extLst>
          </p:cNvPr>
          <p:cNvSpPr/>
          <p:nvPr/>
        </p:nvSpPr>
        <p:spPr>
          <a:xfrm>
            <a:off x="0" y="314960"/>
            <a:ext cx="895797" cy="416673"/>
          </a:xfrm>
          <a:prstGeom prst="roundRect">
            <a:avLst>
              <a:gd name="adj" fmla="val 369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441C35B1-7055-E9B1-DDC2-14FE9EF9FEF2}"/>
              </a:ext>
            </a:extLst>
          </p:cNvPr>
          <p:cNvSpPr txBox="1">
            <a:spLocks/>
          </p:cNvSpPr>
          <p:nvPr/>
        </p:nvSpPr>
        <p:spPr>
          <a:xfrm>
            <a:off x="1117600" y="314960"/>
            <a:ext cx="10534649" cy="366527"/>
          </a:xfrm>
          <a:prstGeom prst="rect">
            <a:avLst/>
          </a:prstGeom>
        </p:spPr>
        <p:txBody>
          <a:bodyPr vert="horz" lIns="0" tIns="36000" rIns="3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i="0" kern="1200" baseline="0">
                <a:solidFill>
                  <a:schemeClr val="accent1"/>
                </a:solidFill>
                <a:latin typeface="CocogooseProNarrow Darkmode" panose="00000400000000000000" pitchFamily="2" charset="0"/>
                <a:ea typeface="+mj-ea"/>
                <a:cs typeface="+mj-cs"/>
              </a:defRPr>
            </a:lvl1pPr>
          </a:lstStyle>
          <a:p>
            <a:r>
              <a:rPr lang="fr-FR" sz="2800" b="0">
                <a:solidFill>
                  <a:schemeClr val="accent3"/>
                </a:solidFill>
                <a:latin typeface="+mj-lt"/>
              </a:rPr>
              <a:t>Présentation de l’outil web</a:t>
            </a:r>
          </a:p>
        </p:txBody>
      </p:sp>
      <p:pic>
        <p:nvPicPr>
          <p:cNvPr id="8" name="Pic">
            <a:extLst>
              <a:ext uri="{FF2B5EF4-FFF2-40B4-BE49-F238E27FC236}">
                <a16:creationId xmlns:a16="http://schemas.microsoft.com/office/drawing/2014/main" id="{F504B6F9-1C10-3E93-9B96-E37E26B01F04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>
            <a:off x="5235575" y="2568575"/>
            <a:ext cx="1720850" cy="1720850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2127056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73BC87-0518-C728-34EB-1FCD592801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E7482432-74B3-9F03-BA52-BEBFB0B7D8D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>
                <a:latin typeface="CocogooseProNarrow Darkmode" pitchFamily="2" charset="0"/>
              </a:rPr>
              <a:t>Sommaire</a:t>
            </a:r>
          </a:p>
        </p:txBody>
      </p:sp>
      <p:sp>
        <p:nvSpPr>
          <p:cNvPr id="9" name="Menu1">
            <a:extLst>
              <a:ext uri="{FF2B5EF4-FFF2-40B4-BE49-F238E27FC236}">
                <a16:creationId xmlns:a16="http://schemas.microsoft.com/office/drawing/2014/main" id="{469B98B2-FC89-7F22-6F66-2DFE06A23C0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88075" y="2388212"/>
            <a:ext cx="5464175" cy="482309"/>
          </a:xfr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fr-FR">
                <a:solidFill>
                  <a:schemeClr val="accent1">
                    <a:lumMod val="40000"/>
                    <a:lumOff val="60000"/>
                  </a:schemeClr>
                </a:solidFill>
              </a:rPr>
              <a:t>1.	 Présentation du travail réalisé</a:t>
            </a:r>
          </a:p>
        </p:txBody>
      </p:sp>
      <p:sp>
        <p:nvSpPr>
          <p:cNvPr id="10" name="Menu2">
            <a:extLst>
              <a:ext uri="{FF2B5EF4-FFF2-40B4-BE49-F238E27FC236}">
                <a16:creationId xmlns:a16="http://schemas.microsoft.com/office/drawing/2014/main" id="{9A073809-B169-9C81-B123-D9D39A51B00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8075" y="2969571"/>
            <a:ext cx="5464175" cy="482309"/>
          </a:xfr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fr-FR">
                <a:solidFill>
                  <a:schemeClr val="accent1">
                    <a:lumMod val="40000"/>
                    <a:lumOff val="60000"/>
                  </a:schemeClr>
                </a:solidFill>
              </a:rPr>
              <a:t>2.	 Principaux résultats de l’étude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83A72017-0205-244A-6292-4DE8C058D9BE}"/>
              </a:ext>
            </a:extLst>
          </p:cNvPr>
          <p:cNvCxnSpPr>
            <a:cxnSpLocks/>
          </p:cNvCxnSpPr>
          <p:nvPr/>
        </p:nvCxnSpPr>
        <p:spPr>
          <a:xfrm>
            <a:off x="6188075" y="2920046"/>
            <a:ext cx="546417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C508C2F7-2F76-B364-A076-DE4120135FCF}"/>
              </a:ext>
            </a:extLst>
          </p:cNvPr>
          <p:cNvCxnSpPr>
            <a:cxnSpLocks/>
          </p:cNvCxnSpPr>
          <p:nvPr/>
        </p:nvCxnSpPr>
        <p:spPr>
          <a:xfrm>
            <a:off x="6188075" y="3501405"/>
            <a:ext cx="546417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1FF41AF6-A06D-40A2-869F-F76BF584E8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5A6716-DBF2-AF4C-9665-1BA53E8D7A1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cogooseProNarrow Light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cogooseProNarrow Light" pitchFamily="2" charset="0"/>
              <a:ea typeface="+mn-ea"/>
              <a:cs typeface="+mn-cs"/>
            </a:endParaRPr>
          </a:p>
        </p:txBody>
      </p:sp>
      <p:sp>
        <p:nvSpPr>
          <p:cNvPr id="12" name="Menu2">
            <a:extLst>
              <a:ext uri="{FF2B5EF4-FFF2-40B4-BE49-F238E27FC236}">
                <a16:creationId xmlns:a16="http://schemas.microsoft.com/office/drawing/2014/main" id="{B5A3AAAA-3589-BEC2-0846-20FB79F8C8F0}"/>
              </a:ext>
            </a:extLst>
          </p:cNvPr>
          <p:cNvSpPr txBox="1">
            <a:spLocks/>
          </p:cNvSpPr>
          <p:nvPr/>
        </p:nvSpPr>
        <p:spPr>
          <a:xfrm>
            <a:off x="6188075" y="3570951"/>
            <a:ext cx="5464175" cy="48230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fr-FR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>
                <a:tab pos="438150" algn="l"/>
              </a:tabLst>
              <a:defRPr sz="2200" b="0" i="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CocogooseProNarrow Light" pitchFamily="2" charset="0"/>
              </a:defRPr>
            </a:lvl1pPr>
            <a:lvl2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2200" baseline="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="1" i="0" cap="none" baseline="0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438150" algn="l"/>
              </a:tabLst>
              <a:defRPr/>
            </a:pPr>
            <a:r>
              <a:rPr kumimoji="0" lang="fr-FR" sz="2200" b="0" i="0" u="none" strike="noStrike" kern="1200" cap="none" spc="0" normalizeH="0" baseline="0" noProof="0">
                <a:ln>
                  <a:noFill/>
                </a:ln>
                <a:solidFill>
                  <a:srgbClr val="283246">
                    <a:lumMod val="40000"/>
                    <a:lumOff val="60000"/>
                  </a:srgbClr>
                </a:solidFill>
                <a:effectLst/>
                <a:uLnTx/>
                <a:uFillTx/>
                <a:latin typeface="CocogooseProNarrow Light" pitchFamily="2" charset="0"/>
                <a:ea typeface="+mn-ea"/>
                <a:cs typeface="+mn-cs"/>
              </a:rPr>
              <a:t>3.	 Présentation de l’outil web</a:t>
            </a:r>
          </a:p>
        </p:txBody>
      </p:sp>
      <p:pic>
        <p:nvPicPr>
          <p:cNvPr id="2" name="Image 1" descr="Une image contenant Police, Graphique, logo, graphisme&#10;&#10;Description générée automatiquement">
            <a:extLst>
              <a:ext uri="{FF2B5EF4-FFF2-40B4-BE49-F238E27FC236}">
                <a16:creationId xmlns:a16="http://schemas.microsoft.com/office/drawing/2014/main" id="{298A11C9-594A-99F6-B691-62DD3AB27C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9767" y="2405588"/>
            <a:ext cx="4782089" cy="2046437"/>
          </a:xfrm>
          <a:prstGeom prst="rect">
            <a:avLst/>
          </a:prstGeom>
        </p:spPr>
      </p:pic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D7F58E11-0F14-0157-FA53-9EED1B96C8F3}"/>
              </a:ext>
            </a:extLst>
          </p:cNvPr>
          <p:cNvCxnSpPr>
            <a:cxnSpLocks/>
          </p:cNvCxnSpPr>
          <p:nvPr/>
        </p:nvCxnSpPr>
        <p:spPr>
          <a:xfrm>
            <a:off x="6188075" y="4053259"/>
            <a:ext cx="546417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enu2">
            <a:extLst>
              <a:ext uri="{FF2B5EF4-FFF2-40B4-BE49-F238E27FC236}">
                <a16:creationId xmlns:a16="http://schemas.microsoft.com/office/drawing/2014/main" id="{D9C3CFCE-C6AB-4140-7073-909B59A05994}"/>
              </a:ext>
            </a:extLst>
          </p:cNvPr>
          <p:cNvSpPr txBox="1">
            <a:spLocks/>
          </p:cNvSpPr>
          <p:nvPr/>
        </p:nvSpPr>
        <p:spPr>
          <a:xfrm>
            <a:off x="6188075" y="4122805"/>
            <a:ext cx="5464175" cy="48230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fr-FR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>
                <a:tab pos="438150" algn="l"/>
              </a:tabLst>
              <a:defRPr sz="2200" b="0" i="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CocogooseProNarrow Light" pitchFamily="2" charset="0"/>
              </a:defRPr>
            </a:lvl1pPr>
            <a:lvl2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2200" baseline="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="1" i="0" cap="none" baseline="0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438150" algn="l"/>
              </a:tabLst>
              <a:defRPr/>
            </a:pPr>
            <a:r>
              <a:rPr kumimoji="0" lang="fr-FR" sz="2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cogooseProNarrow Light" pitchFamily="2" charset="0"/>
                <a:ea typeface="+mn-ea"/>
                <a:cs typeface="+mn-cs"/>
              </a:rPr>
              <a:t>4.    Questions – réponses</a:t>
            </a:r>
          </a:p>
        </p:txBody>
      </p:sp>
      <p:sp>
        <p:nvSpPr>
          <p:cNvPr id="6" name="Triangle 5">
            <a:extLst>
              <a:ext uri="{FF2B5EF4-FFF2-40B4-BE49-F238E27FC236}">
                <a16:creationId xmlns:a16="http://schemas.microsoft.com/office/drawing/2014/main" id="{6F908FEB-CE2A-3EDF-E90E-F3C4C8554C31}"/>
              </a:ext>
            </a:extLst>
          </p:cNvPr>
          <p:cNvSpPr/>
          <p:nvPr/>
        </p:nvSpPr>
        <p:spPr>
          <a:xfrm rot="5400000" flipH="1">
            <a:off x="5747894" y="4245425"/>
            <a:ext cx="274997" cy="237066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cogooseProNarrow Light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90880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6CCF414-623D-70A9-F9BD-5867F6B1E4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43BB91CA-05E1-0CDF-DACF-C64C8AE523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B5A6716-DBF2-AF4C-9665-1BA53E8D7A19}" type="slidenum">
              <a:rPr lang="fr-FR" smtClean="0"/>
              <a:pPr/>
              <a:t>24</a:t>
            </a:fld>
            <a:endParaRPr lang="fr-FR"/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5B1D789A-AC36-40DD-91D9-1AFECE1E1BF3}"/>
              </a:ext>
            </a:extLst>
          </p:cNvPr>
          <p:cNvSpPr txBox="1">
            <a:spLocks/>
          </p:cNvSpPr>
          <p:nvPr/>
        </p:nvSpPr>
        <p:spPr>
          <a:xfrm>
            <a:off x="525285" y="2979138"/>
            <a:ext cx="11115675" cy="542995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i="0" kern="1200" baseline="0">
                <a:solidFill>
                  <a:schemeClr val="accent1"/>
                </a:solidFill>
                <a:latin typeface="CocogooseProNarrow Darkmode" panose="000004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fr-FR" sz="4400"/>
              <a:t>Questions - Réponses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3E2E72B6-785E-D344-B124-C07325CD79DE}"/>
              </a:ext>
            </a:extLst>
          </p:cNvPr>
          <p:cNvSpPr txBox="1"/>
          <p:nvPr/>
        </p:nvSpPr>
        <p:spPr>
          <a:xfrm>
            <a:off x="11005457" y="489857"/>
            <a:ext cx="6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fr-FR" sz="140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221F7D8C-4010-65BF-CF34-FB5159E04208}"/>
              </a:ext>
            </a:extLst>
          </p:cNvPr>
          <p:cNvSpPr txBox="1"/>
          <p:nvPr/>
        </p:nvSpPr>
        <p:spPr>
          <a:xfrm>
            <a:off x="10591800" y="566057"/>
            <a:ext cx="6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fr-FR" sz="1400"/>
          </a:p>
        </p:txBody>
      </p:sp>
    </p:spTree>
    <p:extLst>
      <p:ext uri="{BB962C8B-B14F-4D97-AF65-F5344CB8AC3E}">
        <p14:creationId xmlns:p14="http://schemas.microsoft.com/office/powerpoint/2010/main" val="8481557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1D15747-04E1-3CD6-A950-BA65743CA7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0B67F0A6-C273-A5DF-51CA-3BCC7F2E58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B5A6716-DBF2-AF4C-9665-1BA53E8D7A19}" type="slidenum">
              <a:rPr lang="fr-FR" smtClean="0"/>
              <a:pPr/>
              <a:t>25</a:t>
            </a:fld>
            <a:endParaRPr lang="fr-FR"/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F8A27028-03A9-0FEF-35BA-D6E9F317B49F}"/>
              </a:ext>
            </a:extLst>
          </p:cNvPr>
          <p:cNvSpPr txBox="1">
            <a:spLocks/>
          </p:cNvSpPr>
          <p:nvPr/>
        </p:nvSpPr>
        <p:spPr>
          <a:xfrm>
            <a:off x="525285" y="2979138"/>
            <a:ext cx="11115675" cy="542995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i="0" kern="1200" baseline="0">
                <a:solidFill>
                  <a:schemeClr val="accent1"/>
                </a:solidFill>
                <a:latin typeface="CocogooseProNarrow Darkmode" panose="000004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fr-FR" sz="4400"/>
              <a:t>Merci !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8B4B42A3-8888-AB1F-0056-9C79D207CAA6}"/>
              </a:ext>
            </a:extLst>
          </p:cNvPr>
          <p:cNvSpPr txBox="1"/>
          <p:nvPr/>
        </p:nvSpPr>
        <p:spPr>
          <a:xfrm>
            <a:off x="11005457" y="489857"/>
            <a:ext cx="6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fr-FR" sz="140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063D9D47-182A-7267-021A-8065AA4675C0}"/>
              </a:ext>
            </a:extLst>
          </p:cNvPr>
          <p:cNvSpPr txBox="1"/>
          <p:nvPr/>
        </p:nvSpPr>
        <p:spPr>
          <a:xfrm>
            <a:off x="10591800" y="566057"/>
            <a:ext cx="6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fr-FR" sz="1400"/>
          </a:p>
        </p:txBody>
      </p:sp>
    </p:spTree>
    <p:extLst>
      <p:ext uri="{BB962C8B-B14F-4D97-AF65-F5344CB8AC3E}">
        <p14:creationId xmlns:p14="http://schemas.microsoft.com/office/powerpoint/2010/main" val="36379169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>
            <a:extLst>
              <a:ext uri="{FF2B5EF4-FFF2-40B4-BE49-F238E27FC236}">
                <a16:creationId xmlns:a16="http://schemas.microsoft.com/office/drawing/2014/main" id="{187C5C5C-7001-4A4F-9382-E9E7609EB83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3747" y="2365568"/>
            <a:ext cx="5084507" cy="1645472"/>
          </a:xfrm>
          <a:prstGeom prst="rect">
            <a:avLst/>
          </a:prstGeom>
        </p:spPr>
      </p:pic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C8C8781E-EE8F-1644-A8F4-99F2CE82FA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5A6716-DBF2-AF4C-9665-1BA53E8D7A1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srgbClr val="283246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283246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" name="TextBox 8"/>
          <p:cNvSpPr txBox="1"/>
          <p:nvPr/>
        </p:nvSpPr>
        <p:spPr>
          <a:xfrm>
            <a:off x="3986463" y="4361820"/>
            <a:ext cx="4219074" cy="215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-43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Helvetica Neue Light" panose="02000403000000020004" pitchFamily="2" charset="0"/>
                <a:cs typeface="Lector FSL" panose="02010504010101010104" pitchFamily="2" charset="77"/>
              </a:rPr>
              <a:t>www.carbone4.com</a:t>
            </a:r>
          </a:p>
        </p:txBody>
      </p:sp>
    </p:spTree>
    <p:extLst>
      <p:ext uri="{BB962C8B-B14F-4D97-AF65-F5344CB8AC3E}">
        <p14:creationId xmlns:p14="http://schemas.microsoft.com/office/powerpoint/2010/main" val="3527227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94E09F-3715-87AF-EDF7-40897F795E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9CA6CC20-1AAB-4738-9708-42EAEFCEC1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>
                <a:latin typeface="CocogooseProNarrow Darkmode" pitchFamily="2" charset="0"/>
              </a:rPr>
              <a:t>Sommaire</a:t>
            </a:r>
          </a:p>
        </p:txBody>
      </p:sp>
      <p:sp>
        <p:nvSpPr>
          <p:cNvPr id="9" name="Menu1">
            <a:extLst>
              <a:ext uri="{FF2B5EF4-FFF2-40B4-BE49-F238E27FC236}">
                <a16:creationId xmlns:a16="http://schemas.microsoft.com/office/drawing/2014/main" id="{1A4251AB-0F46-A920-B3FB-315B928710A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88075" y="2388212"/>
            <a:ext cx="5464175" cy="482309"/>
          </a:xfr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fr-FR" b="1"/>
              <a:t>1.	 Présentation du travail réalisé</a:t>
            </a:r>
          </a:p>
        </p:txBody>
      </p:sp>
      <p:sp>
        <p:nvSpPr>
          <p:cNvPr id="10" name="Menu2">
            <a:extLst>
              <a:ext uri="{FF2B5EF4-FFF2-40B4-BE49-F238E27FC236}">
                <a16:creationId xmlns:a16="http://schemas.microsoft.com/office/drawing/2014/main" id="{6018175B-7D25-A3F0-8B4C-F95A4A056CB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8075" y="2969571"/>
            <a:ext cx="5464175" cy="482309"/>
          </a:xfr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fr-FR">
                <a:solidFill>
                  <a:schemeClr val="accent1">
                    <a:lumMod val="40000"/>
                    <a:lumOff val="60000"/>
                  </a:schemeClr>
                </a:solidFill>
              </a:rPr>
              <a:t>2.	 Principaux résultats de l’étude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DFAAF593-FA51-3DAF-BA8E-9A661A26D6A8}"/>
              </a:ext>
            </a:extLst>
          </p:cNvPr>
          <p:cNvCxnSpPr>
            <a:cxnSpLocks/>
          </p:cNvCxnSpPr>
          <p:nvPr/>
        </p:nvCxnSpPr>
        <p:spPr>
          <a:xfrm>
            <a:off x="6188075" y="2920046"/>
            <a:ext cx="546417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E7C8B1D5-6181-AE24-AB0E-70D4244DBA31}"/>
              </a:ext>
            </a:extLst>
          </p:cNvPr>
          <p:cNvCxnSpPr>
            <a:cxnSpLocks/>
          </p:cNvCxnSpPr>
          <p:nvPr/>
        </p:nvCxnSpPr>
        <p:spPr>
          <a:xfrm>
            <a:off x="6188075" y="3501405"/>
            <a:ext cx="546417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64AE2C1C-AC2D-045B-7DEB-A0F2696FBD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B5A6716-DBF2-AF4C-9665-1BA53E8D7A19}" type="slidenum">
              <a:rPr lang="fr-FR" smtClean="0">
                <a:latin typeface="CocogooseProNarrow Light" pitchFamily="2" charset="0"/>
              </a:rPr>
              <a:pPr/>
              <a:t>3</a:t>
            </a:fld>
            <a:endParaRPr lang="fr-FR">
              <a:latin typeface="CocogooseProNarrow Light" pitchFamily="2" charset="0"/>
            </a:endParaRPr>
          </a:p>
        </p:txBody>
      </p:sp>
      <p:sp>
        <p:nvSpPr>
          <p:cNvPr id="12" name="Menu2">
            <a:extLst>
              <a:ext uri="{FF2B5EF4-FFF2-40B4-BE49-F238E27FC236}">
                <a16:creationId xmlns:a16="http://schemas.microsoft.com/office/drawing/2014/main" id="{8736BFE6-A74C-B942-0CF2-68AE8BB8A1C4}"/>
              </a:ext>
            </a:extLst>
          </p:cNvPr>
          <p:cNvSpPr txBox="1">
            <a:spLocks/>
          </p:cNvSpPr>
          <p:nvPr/>
        </p:nvSpPr>
        <p:spPr>
          <a:xfrm>
            <a:off x="6188075" y="3570951"/>
            <a:ext cx="5464175" cy="48230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fr-FR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>
                <a:tab pos="438150" algn="l"/>
              </a:tabLst>
              <a:defRPr sz="2200" b="0" i="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CocogooseProNarrow Light" pitchFamily="2" charset="0"/>
              </a:defRPr>
            </a:lvl1pPr>
            <a:lvl2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2200" baseline="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="1" i="0" cap="none" baseline="0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fr-FR"/>
              <a:t>3.	 Présentation de l’outil web</a:t>
            </a:r>
          </a:p>
        </p:txBody>
      </p:sp>
      <p:pic>
        <p:nvPicPr>
          <p:cNvPr id="2" name="Image 1" descr="Une image contenant Police, Graphique, logo, graphisme&#10;&#10;Description générée automatiquement">
            <a:extLst>
              <a:ext uri="{FF2B5EF4-FFF2-40B4-BE49-F238E27FC236}">
                <a16:creationId xmlns:a16="http://schemas.microsoft.com/office/drawing/2014/main" id="{712CA895-722B-7CEA-4B3E-684114991B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9767" y="2405588"/>
            <a:ext cx="4782089" cy="2046437"/>
          </a:xfrm>
          <a:prstGeom prst="rect">
            <a:avLst/>
          </a:prstGeom>
        </p:spPr>
      </p:pic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99BA1EDD-29B0-4A5B-229D-E0D72154B8BC}"/>
              </a:ext>
            </a:extLst>
          </p:cNvPr>
          <p:cNvCxnSpPr>
            <a:cxnSpLocks/>
          </p:cNvCxnSpPr>
          <p:nvPr/>
        </p:nvCxnSpPr>
        <p:spPr>
          <a:xfrm>
            <a:off x="6188075" y="4053259"/>
            <a:ext cx="546417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enu2">
            <a:extLst>
              <a:ext uri="{FF2B5EF4-FFF2-40B4-BE49-F238E27FC236}">
                <a16:creationId xmlns:a16="http://schemas.microsoft.com/office/drawing/2014/main" id="{8334A89C-96A2-1DBC-CB80-77002DA2E62D}"/>
              </a:ext>
            </a:extLst>
          </p:cNvPr>
          <p:cNvSpPr txBox="1">
            <a:spLocks/>
          </p:cNvSpPr>
          <p:nvPr/>
        </p:nvSpPr>
        <p:spPr>
          <a:xfrm>
            <a:off x="6188075" y="4122805"/>
            <a:ext cx="5464175" cy="48230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fr-FR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>
                <a:tab pos="438150" algn="l"/>
              </a:tabLst>
              <a:defRPr sz="2200" b="0" i="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CocogooseProNarrow Light" pitchFamily="2" charset="0"/>
              </a:defRPr>
            </a:lvl1pPr>
            <a:lvl2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2200" baseline="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="1" i="0" cap="none" baseline="0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fr-FR"/>
              <a:t>4.    Questions – réponses</a:t>
            </a:r>
          </a:p>
        </p:txBody>
      </p:sp>
      <p:sp>
        <p:nvSpPr>
          <p:cNvPr id="6" name="Triangle 5">
            <a:extLst>
              <a:ext uri="{FF2B5EF4-FFF2-40B4-BE49-F238E27FC236}">
                <a16:creationId xmlns:a16="http://schemas.microsoft.com/office/drawing/2014/main" id="{56861874-6B7C-7DAD-7362-35A208AD0B7C}"/>
              </a:ext>
            </a:extLst>
          </p:cNvPr>
          <p:cNvSpPr/>
          <p:nvPr/>
        </p:nvSpPr>
        <p:spPr>
          <a:xfrm rot="5400000" flipH="1">
            <a:off x="5747896" y="2510832"/>
            <a:ext cx="274997" cy="237066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CocogooseProNarrow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67150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AEDD753-CD4B-4DA5-C4ED-D2F876123D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64164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7772400" imgH="10058400" progId="TCLayout.ActiveDocument.1">
                  <p:embed/>
                </p:oleObj>
              </mc:Choice>
              <mc:Fallback>
                <p:oleObj name="Diapositive think-cell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EDD753-CD4B-4DA5-C4ED-D2F876123D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6D26597D-67CC-BD0C-0715-951C2EFD3FEE}"/>
              </a:ext>
            </a:extLst>
          </p:cNvPr>
          <p:cNvSpPr/>
          <p:nvPr/>
        </p:nvSpPr>
        <p:spPr>
          <a:xfrm>
            <a:off x="7071360" y="1820091"/>
            <a:ext cx="4580889" cy="3945045"/>
          </a:xfrm>
          <a:prstGeom prst="roundRect">
            <a:avLst>
              <a:gd name="adj" fmla="val 6560"/>
            </a:avLst>
          </a:prstGeom>
          <a:solidFill>
            <a:srgbClr val="0E405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numéro de diapositive 2">
            <a:extLst>
              <a:ext uri="{FF2B5EF4-FFF2-40B4-BE49-F238E27FC236}">
                <a16:creationId xmlns:a16="http://schemas.microsoft.com/office/drawing/2014/main" id="{97BD47E3-0855-ABDF-E49E-B7517FE8A9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82" y="6347795"/>
            <a:ext cx="509768" cy="232050"/>
          </a:xfrm>
        </p:spPr>
        <p:txBody>
          <a:bodyPr/>
          <a:lstStyle/>
          <a:p>
            <a:fld id="{3B5A6716-DBF2-AF4C-9665-1BA53E8D7A19}" type="slidenum">
              <a:rPr lang="fr-FR" smtClean="0"/>
              <a:pPr/>
              <a:t>4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D8A95317-7FD5-6350-058C-CDB0B652E9C2}"/>
              </a:ext>
            </a:extLst>
          </p:cNvPr>
          <p:cNvSpPr txBox="1">
            <a:spLocks/>
          </p:cNvSpPr>
          <p:nvPr/>
        </p:nvSpPr>
        <p:spPr>
          <a:xfrm>
            <a:off x="536574" y="314960"/>
            <a:ext cx="11115675" cy="366527"/>
          </a:xfrm>
          <a:prstGeom prst="rect">
            <a:avLst/>
          </a:prstGeom>
        </p:spPr>
        <p:txBody>
          <a:bodyPr vert="horz" lIns="0" tIns="36000" rIns="3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i="0" kern="1200" baseline="0">
                <a:solidFill>
                  <a:schemeClr val="accent1"/>
                </a:solidFill>
                <a:latin typeface="CocogooseProNarrow Darkmode" panose="00000400000000000000" pitchFamily="2" charset="0"/>
                <a:ea typeface="+mj-ea"/>
                <a:cs typeface="+mj-cs"/>
              </a:defRPr>
            </a:lvl1pPr>
          </a:lstStyle>
          <a:p>
            <a:r>
              <a:rPr lang="fr-FR"/>
              <a:t>La première empreinte carbone des cabinets de </a:t>
            </a:r>
          </a:p>
          <a:p>
            <a:r>
              <a:rPr lang="fr-FR"/>
              <a:t>Kinésithérapie 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B7EE385F-5058-AD75-72AA-FB36E29E5C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10845" y="1920864"/>
            <a:ext cx="4101918" cy="3743498"/>
          </a:xfrm>
          <a:prstGeom prst="rect">
            <a:avLst/>
          </a:prstGeom>
        </p:spPr>
      </p:pic>
      <p:sp>
        <p:nvSpPr>
          <p:cNvPr id="5" name="Espace réservé du texte 6">
            <a:extLst>
              <a:ext uri="{FF2B5EF4-FFF2-40B4-BE49-F238E27FC236}">
                <a16:creationId xmlns:a16="http://schemas.microsoft.com/office/drawing/2014/main" id="{35C76969-D2DF-A82B-B8FE-C66A6B6823BF}"/>
              </a:ext>
            </a:extLst>
          </p:cNvPr>
          <p:cNvSpPr txBox="1">
            <a:spLocks/>
          </p:cNvSpPr>
          <p:nvPr/>
        </p:nvSpPr>
        <p:spPr>
          <a:xfrm>
            <a:off x="536574" y="2021639"/>
            <a:ext cx="6174777" cy="4209423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Font typeface="Wingdings" pitchFamily="2" charset="2"/>
              <a:buChar char="Ø"/>
            </a:pPr>
            <a:r>
              <a:rPr lang="fr-FR" sz="170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Projet national expérimental visant à </a:t>
            </a:r>
            <a:r>
              <a:rPr lang="fr-FR" sz="1700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mesurer les émissions de gaz à effet de serre d’une séance de kinésithérapie </a:t>
            </a:r>
            <a:r>
              <a:rPr lang="fr-FR" sz="170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pratiquée par les MKDE libéraux français</a:t>
            </a:r>
          </a:p>
          <a:p>
            <a:pPr lvl="1">
              <a:lnSpc>
                <a:spcPct val="100000"/>
              </a:lnSpc>
            </a:pPr>
            <a:r>
              <a:rPr lang="fr-FR" sz="170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Mieux comprendre les impacts et identifier des pistes d’améliorations réalistes et accessibles</a:t>
            </a:r>
          </a:p>
          <a:p>
            <a:pPr>
              <a:lnSpc>
                <a:spcPct val="100000"/>
              </a:lnSpc>
              <a:buFont typeface="Wingdings" pitchFamily="2" charset="2"/>
              <a:buChar char="Ø"/>
            </a:pPr>
            <a:r>
              <a:rPr lang="fr-FR" sz="170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Le </a:t>
            </a:r>
            <a:r>
              <a:rPr lang="fr-FR" sz="1700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projet est porté par 10 Unions Régionales des Professionnels de Santé – Masseurs-Kinésithérapeutes</a:t>
            </a:r>
          </a:p>
        </p:txBody>
      </p:sp>
    </p:spTree>
    <p:extLst>
      <p:ext uri="{BB962C8B-B14F-4D97-AF65-F5344CB8AC3E}">
        <p14:creationId xmlns:p14="http://schemas.microsoft.com/office/powerpoint/2010/main" val="7626795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864AF3C-A0F5-2EFC-3E6A-DF1E685A0E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2">
            <a:extLst>
              <a:ext uri="{FF2B5EF4-FFF2-40B4-BE49-F238E27FC236}">
                <a16:creationId xmlns:a16="http://schemas.microsoft.com/office/drawing/2014/main" id="{0D58DF53-BF34-C30D-40BC-185D4316B0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82" y="6347795"/>
            <a:ext cx="509768" cy="232050"/>
          </a:xfrm>
        </p:spPr>
        <p:txBody>
          <a:bodyPr/>
          <a:lstStyle/>
          <a:p>
            <a:fld id="{3B5A6716-DBF2-AF4C-9665-1BA53E8D7A19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FA1D2E1-7730-AA63-D66D-EFEE19C4A33E}"/>
              </a:ext>
            </a:extLst>
          </p:cNvPr>
          <p:cNvSpPr/>
          <p:nvPr/>
        </p:nvSpPr>
        <p:spPr>
          <a:xfrm>
            <a:off x="-85918" y="1440611"/>
            <a:ext cx="1931971" cy="1000664"/>
          </a:xfrm>
          <a:prstGeom prst="roundRect">
            <a:avLst>
              <a:gd name="adj" fmla="val 369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FE81FFCE-57CA-B950-A470-E7779E2C2FC6}"/>
              </a:ext>
            </a:extLst>
          </p:cNvPr>
          <p:cNvSpPr/>
          <p:nvPr/>
        </p:nvSpPr>
        <p:spPr>
          <a:xfrm>
            <a:off x="-85918" y="2928668"/>
            <a:ext cx="1931971" cy="1000664"/>
          </a:xfrm>
          <a:prstGeom prst="roundRect">
            <a:avLst>
              <a:gd name="adj" fmla="val 369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52E2438D-D516-B5D4-0880-CD3051C44732}"/>
              </a:ext>
            </a:extLst>
          </p:cNvPr>
          <p:cNvSpPr/>
          <p:nvPr/>
        </p:nvSpPr>
        <p:spPr>
          <a:xfrm>
            <a:off x="-85918" y="4416726"/>
            <a:ext cx="1931971" cy="1000664"/>
          </a:xfrm>
          <a:prstGeom prst="roundRect">
            <a:avLst>
              <a:gd name="adj" fmla="val 3690"/>
            </a:avLst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accent5"/>
              </a:solidFill>
            </a:endParaRPr>
          </a:p>
        </p:txBody>
      </p:sp>
      <p:sp>
        <p:nvSpPr>
          <p:cNvPr id="10" name="Titre 7">
            <a:extLst>
              <a:ext uri="{FF2B5EF4-FFF2-40B4-BE49-F238E27FC236}">
                <a16:creationId xmlns:a16="http://schemas.microsoft.com/office/drawing/2014/main" id="{2353EB81-44D2-BE6A-3A22-393E6CF428D8}"/>
              </a:ext>
            </a:extLst>
          </p:cNvPr>
          <p:cNvSpPr txBox="1">
            <a:spLocks/>
          </p:cNvSpPr>
          <p:nvPr/>
        </p:nvSpPr>
        <p:spPr>
          <a:xfrm>
            <a:off x="1190446" y="1590090"/>
            <a:ext cx="543464" cy="69590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i="0" kern="1200" baseline="0">
                <a:solidFill>
                  <a:schemeClr val="accent1"/>
                </a:solidFill>
                <a:latin typeface="CocogooseProNarrow Darkmode" panose="00000400000000000000" pitchFamily="2" charset="0"/>
                <a:ea typeface="+mj-ea"/>
                <a:cs typeface="+mj-cs"/>
              </a:defRPr>
            </a:lvl1pPr>
          </a:lstStyle>
          <a:p>
            <a:r>
              <a:rPr lang="fr-FR" sz="4800" b="0">
                <a:solidFill>
                  <a:schemeClr val="bg1"/>
                </a:solidFill>
                <a:latin typeface="+mj-lt"/>
              </a:rPr>
              <a:t>1</a:t>
            </a:r>
            <a:br>
              <a:rPr lang="fr-FR" sz="4800" b="0">
                <a:solidFill>
                  <a:schemeClr val="bg1"/>
                </a:solidFill>
                <a:latin typeface="+mj-lt"/>
              </a:rPr>
            </a:br>
            <a:endParaRPr lang="fr-FR" sz="4800" b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" name="Titre 7">
            <a:extLst>
              <a:ext uri="{FF2B5EF4-FFF2-40B4-BE49-F238E27FC236}">
                <a16:creationId xmlns:a16="http://schemas.microsoft.com/office/drawing/2014/main" id="{E6540D42-DD48-016E-4F4C-FC13F18246D9}"/>
              </a:ext>
            </a:extLst>
          </p:cNvPr>
          <p:cNvSpPr txBox="1">
            <a:spLocks/>
          </p:cNvSpPr>
          <p:nvPr/>
        </p:nvSpPr>
        <p:spPr>
          <a:xfrm>
            <a:off x="1190446" y="3081045"/>
            <a:ext cx="543464" cy="69590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i="0" kern="1200" baseline="0">
                <a:solidFill>
                  <a:schemeClr val="accent1"/>
                </a:solidFill>
                <a:latin typeface="CocogooseProNarrow Darkmode" panose="00000400000000000000" pitchFamily="2" charset="0"/>
                <a:ea typeface="+mj-ea"/>
                <a:cs typeface="+mj-cs"/>
              </a:defRPr>
            </a:lvl1pPr>
          </a:lstStyle>
          <a:p>
            <a:r>
              <a:rPr lang="fr-FR" sz="4800" b="0">
                <a:solidFill>
                  <a:schemeClr val="bg1"/>
                </a:solidFill>
                <a:latin typeface="+mj-lt"/>
              </a:rPr>
              <a:t>2</a:t>
            </a:r>
            <a:br>
              <a:rPr lang="fr-FR" sz="4800" b="0">
                <a:solidFill>
                  <a:schemeClr val="bg1"/>
                </a:solidFill>
                <a:latin typeface="+mj-lt"/>
              </a:rPr>
            </a:br>
            <a:endParaRPr lang="fr-FR" sz="4800" b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7" name="Titre 7">
            <a:extLst>
              <a:ext uri="{FF2B5EF4-FFF2-40B4-BE49-F238E27FC236}">
                <a16:creationId xmlns:a16="http://schemas.microsoft.com/office/drawing/2014/main" id="{38CC7684-21E7-C7EC-3D23-05DCF6623BE4}"/>
              </a:ext>
            </a:extLst>
          </p:cNvPr>
          <p:cNvSpPr txBox="1">
            <a:spLocks/>
          </p:cNvSpPr>
          <p:nvPr/>
        </p:nvSpPr>
        <p:spPr>
          <a:xfrm>
            <a:off x="1190446" y="4572001"/>
            <a:ext cx="543464" cy="69590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i="0" kern="1200" baseline="0">
                <a:solidFill>
                  <a:schemeClr val="accent1"/>
                </a:solidFill>
                <a:latin typeface="CocogooseProNarrow Darkmode" panose="00000400000000000000" pitchFamily="2" charset="0"/>
                <a:ea typeface="+mj-ea"/>
                <a:cs typeface="+mj-cs"/>
              </a:defRPr>
            </a:lvl1pPr>
          </a:lstStyle>
          <a:p>
            <a:r>
              <a:rPr lang="fr-FR" sz="4800" b="0">
                <a:solidFill>
                  <a:schemeClr val="bg1"/>
                </a:solidFill>
                <a:latin typeface="+mj-lt"/>
              </a:rPr>
              <a:t>3</a:t>
            </a:r>
            <a:br>
              <a:rPr lang="fr-FR" sz="4800" b="0">
                <a:solidFill>
                  <a:schemeClr val="bg1"/>
                </a:solidFill>
                <a:latin typeface="+mj-lt"/>
              </a:rPr>
            </a:br>
            <a:endParaRPr lang="fr-FR" sz="4800" b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8" name="Titre 7">
            <a:extLst>
              <a:ext uri="{FF2B5EF4-FFF2-40B4-BE49-F238E27FC236}">
                <a16:creationId xmlns:a16="http://schemas.microsoft.com/office/drawing/2014/main" id="{BEAC04DF-BF52-08C1-D7BD-208163916D62}"/>
              </a:ext>
            </a:extLst>
          </p:cNvPr>
          <p:cNvSpPr txBox="1">
            <a:spLocks/>
          </p:cNvSpPr>
          <p:nvPr/>
        </p:nvSpPr>
        <p:spPr>
          <a:xfrm>
            <a:off x="2020137" y="1440611"/>
            <a:ext cx="9632112" cy="4774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i="0" kern="1200" baseline="0">
                <a:solidFill>
                  <a:schemeClr val="accent1"/>
                </a:solidFill>
                <a:latin typeface="CocogooseProNarrow Darkmode" panose="00000400000000000000" pitchFamily="2" charset="0"/>
                <a:ea typeface="+mj-ea"/>
                <a:cs typeface="+mj-cs"/>
              </a:defRPr>
            </a:lvl1pPr>
          </a:lstStyle>
          <a:p>
            <a:r>
              <a:rPr lang="fr-FR" sz="2400" b="0">
                <a:solidFill>
                  <a:schemeClr val="accent6"/>
                </a:solidFill>
                <a:latin typeface="+mj-lt"/>
              </a:rPr>
              <a:t>Une empreinte carbone moyenne d’une séance de kiné</a:t>
            </a:r>
          </a:p>
        </p:txBody>
      </p:sp>
      <p:sp>
        <p:nvSpPr>
          <p:cNvPr id="29" name="Titre 7">
            <a:extLst>
              <a:ext uri="{FF2B5EF4-FFF2-40B4-BE49-F238E27FC236}">
                <a16:creationId xmlns:a16="http://schemas.microsoft.com/office/drawing/2014/main" id="{022AE76E-CE95-10C1-4532-C7235AE60EB6}"/>
              </a:ext>
            </a:extLst>
          </p:cNvPr>
          <p:cNvSpPr txBox="1">
            <a:spLocks/>
          </p:cNvSpPr>
          <p:nvPr/>
        </p:nvSpPr>
        <p:spPr>
          <a:xfrm>
            <a:off x="2020136" y="2928668"/>
            <a:ext cx="9632112" cy="4774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i="0" kern="1200" baseline="0">
                <a:solidFill>
                  <a:schemeClr val="accent1"/>
                </a:solidFill>
                <a:latin typeface="CocogooseProNarrow Darkmode" panose="00000400000000000000" pitchFamily="2" charset="0"/>
                <a:ea typeface="+mj-ea"/>
                <a:cs typeface="+mj-cs"/>
              </a:defRPr>
            </a:lvl1pPr>
          </a:lstStyle>
          <a:p>
            <a:r>
              <a:rPr lang="fr-FR" sz="2400" b="0">
                <a:solidFill>
                  <a:schemeClr val="accent3"/>
                </a:solidFill>
                <a:latin typeface="+mj-lt"/>
              </a:rPr>
              <a:t>Un outil de bilan carbone simple et facilement déployable</a:t>
            </a:r>
          </a:p>
          <a:p>
            <a:br>
              <a:rPr lang="fr-FR" sz="2400" b="0">
                <a:solidFill>
                  <a:schemeClr val="accent2"/>
                </a:solidFill>
                <a:latin typeface="+mj-lt"/>
              </a:rPr>
            </a:br>
            <a:endParaRPr lang="fr-FR" sz="2400" b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30" name="Titre 7">
            <a:extLst>
              <a:ext uri="{FF2B5EF4-FFF2-40B4-BE49-F238E27FC236}">
                <a16:creationId xmlns:a16="http://schemas.microsoft.com/office/drawing/2014/main" id="{474FB90B-896D-45E5-B55C-A35F8341CF15}"/>
              </a:ext>
            </a:extLst>
          </p:cNvPr>
          <p:cNvSpPr txBox="1">
            <a:spLocks/>
          </p:cNvSpPr>
          <p:nvPr/>
        </p:nvSpPr>
        <p:spPr>
          <a:xfrm>
            <a:off x="2020136" y="4416726"/>
            <a:ext cx="9122345" cy="4774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i="0" kern="1200" baseline="0">
                <a:solidFill>
                  <a:schemeClr val="accent1"/>
                </a:solidFill>
                <a:latin typeface="CocogooseProNarrow Darkmode" panose="00000400000000000000" pitchFamily="2" charset="0"/>
                <a:ea typeface="+mj-ea"/>
                <a:cs typeface="+mj-cs"/>
              </a:defRPr>
            </a:lvl1pPr>
          </a:lstStyle>
          <a:p>
            <a:r>
              <a:rPr lang="fr-FR" sz="2400" b="0">
                <a:solidFill>
                  <a:schemeClr val="accent5"/>
                </a:solidFill>
                <a:latin typeface="+mj-lt"/>
              </a:rPr>
              <a:t>Une étude de référence</a:t>
            </a:r>
          </a:p>
        </p:txBody>
      </p:sp>
      <p:sp>
        <p:nvSpPr>
          <p:cNvPr id="33" name="Espace réservé du texte 6">
            <a:extLst>
              <a:ext uri="{FF2B5EF4-FFF2-40B4-BE49-F238E27FC236}">
                <a16:creationId xmlns:a16="http://schemas.microsoft.com/office/drawing/2014/main" id="{397E76CE-DE3B-EF5E-5EE2-27F6EE2464BF}"/>
              </a:ext>
            </a:extLst>
          </p:cNvPr>
          <p:cNvSpPr txBox="1">
            <a:spLocks/>
          </p:cNvSpPr>
          <p:nvPr/>
        </p:nvSpPr>
        <p:spPr>
          <a:xfrm>
            <a:off x="2020136" y="1918026"/>
            <a:ext cx="8553419" cy="523248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fr-FR" sz="170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A partir des données récoltées sur un échantillon de 106 cabinets </a:t>
            </a:r>
          </a:p>
        </p:txBody>
      </p:sp>
      <p:sp>
        <p:nvSpPr>
          <p:cNvPr id="36" name="Espace réservé du texte 6">
            <a:extLst>
              <a:ext uri="{FF2B5EF4-FFF2-40B4-BE49-F238E27FC236}">
                <a16:creationId xmlns:a16="http://schemas.microsoft.com/office/drawing/2014/main" id="{DACC1033-3B1E-488F-D818-D4FC9B48FBC1}"/>
              </a:ext>
            </a:extLst>
          </p:cNvPr>
          <p:cNvSpPr txBox="1">
            <a:spLocks/>
          </p:cNvSpPr>
          <p:nvPr/>
        </p:nvSpPr>
        <p:spPr>
          <a:xfrm>
            <a:off x="2020136" y="3406084"/>
            <a:ext cx="9890815" cy="523248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fr-FR" sz="170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Outil web simplifié de calcul de leur empreinte carbone et mise en place d’actions concrètes</a:t>
            </a:r>
          </a:p>
        </p:txBody>
      </p:sp>
      <p:sp>
        <p:nvSpPr>
          <p:cNvPr id="37" name="Espace réservé du texte 6">
            <a:extLst>
              <a:ext uri="{FF2B5EF4-FFF2-40B4-BE49-F238E27FC236}">
                <a16:creationId xmlns:a16="http://schemas.microsoft.com/office/drawing/2014/main" id="{90CB171F-3B38-E0A9-86BE-EF923EE2CC9B}"/>
              </a:ext>
            </a:extLst>
          </p:cNvPr>
          <p:cNvSpPr txBox="1">
            <a:spLocks/>
          </p:cNvSpPr>
          <p:nvPr/>
        </p:nvSpPr>
        <p:spPr>
          <a:xfrm>
            <a:off x="2020136" y="4894141"/>
            <a:ext cx="9605807" cy="523248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fr-FR" sz="170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Disposer en toute transparence des hypothèses, méthodes de calcul et calculs d’incertitude en vue de publier les résultats dans une revue scientifiqu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B28C21BE-D2B3-C817-C581-768BE04EF093}"/>
              </a:ext>
            </a:extLst>
          </p:cNvPr>
          <p:cNvSpPr txBox="1">
            <a:spLocks/>
          </p:cNvSpPr>
          <p:nvPr/>
        </p:nvSpPr>
        <p:spPr>
          <a:xfrm>
            <a:off x="536574" y="314960"/>
            <a:ext cx="11115675" cy="366527"/>
          </a:xfrm>
          <a:prstGeom prst="rect">
            <a:avLst/>
          </a:prstGeom>
        </p:spPr>
        <p:txBody>
          <a:bodyPr vert="horz" lIns="0" tIns="36000" rIns="3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i="0" kern="1200" baseline="0">
                <a:solidFill>
                  <a:schemeClr val="accent1"/>
                </a:solidFill>
                <a:latin typeface="CocogooseProNarrow Darkmode" panose="00000400000000000000" pitchFamily="2" charset="0"/>
                <a:ea typeface="+mj-ea"/>
                <a:cs typeface="+mj-cs"/>
              </a:defRPr>
            </a:lvl1pPr>
          </a:lstStyle>
          <a:p>
            <a:r>
              <a:rPr lang="fr-FR"/>
              <a:t>Présentation du travail de l’année passée</a:t>
            </a:r>
          </a:p>
        </p:txBody>
      </p:sp>
    </p:spTree>
    <p:extLst>
      <p:ext uri="{BB962C8B-B14F-4D97-AF65-F5344CB8AC3E}">
        <p14:creationId xmlns:p14="http://schemas.microsoft.com/office/powerpoint/2010/main" val="42024394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5651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349" imgH="350" progId="TCLayout.ActiveDocument.1">
                  <p:embed/>
                </p:oleObj>
              </mc:Choice>
              <mc:Fallback>
                <p:oleObj name="Diapositive think-cell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71405FB7-BCD4-E73B-5511-353ECAA1BAB5}"/>
              </a:ext>
            </a:extLst>
          </p:cNvPr>
          <p:cNvSpPr txBox="1">
            <a:spLocks/>
          </p:cNvSpPr>
          <p:nvPr/>
        </p:nvSpPr>
        <p:spPr bwMode="gray">
          <a:xfrm flipH="1">
            <a:off x="3629391" y="4975800"/>
            <a:ext cx="2401892" cy="1077218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fr-FR" sz="1400" b="1" noProof="1">
                <a:solidFill>
                  <a:schemeClr val="accent1"/>
                </a:solidFill>
              </a:rPr>
              <a:t>Ouverture de la collecte aux URPS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fr-FR" sz="1400" noProof="1"/>
              <a:t>106 MK ont été recrutés, pour l’instant 59 MK ont complété la collecte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1E8D98FF-DDD8-3A77-CDBA-B8D8587E87C6}"/>
              </a:ext>
            </a:extLst>
          </p:cNvPr>
          <p:cNvSpPr txBox="1">
            <a:spLocks/>
          </p:cNvSpPr>
          <p:nvPr/>
        </p:nvSpPr>
        <p:spPr bwMode="gray">
          <a:xfrm flipH="1">
            <a:off x="5963147" y="4961450"/>
            <a:ext cx="1921226" cy="1723549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fr-FR" sz="1400" b="1" noProof="1">
                <a:solidFill>
                  <a:schemeClr val="accent1"/>
                </a:solidFill>
              </a:rPr>
              <a:t>Développement de la plateforme sur le modèle de la grille de collect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fr-FR" sz="1400" noProof="1">
                <a:solidFill>
                  <a:schemeClr val="accent1"/>
                </a:solidFill>
              </a:rPr>
              <a:t>Intégration de plusieurs ratios issus de la collecte précédente</a:t>
            </a:r>
            <a:endParaRPr lang="fr-FR" sz="1400" noProof="1"/>
          </a:p>
        </p:txBody>
      </p:sp>
      <p:cxnSp>
        <p:nvCxnSpPr>
          <p:cNvPr id="93" name="Connecteur droit 92">
            <a:extLst>
              <a:ext uri="{FF2B5EF4-FFF2-40B4-BE49-F238E27FC236}">
                <a16:creationId xmlns:a16="http://schemas.microsoft.com/office/drawing/2014/main" id="{EE394901-CC43-C279-5984-FDCC0D175B8B}"/>
              </a:ext>
            </a:extLst>
          </p:cNvPr>
          <p:cNvCxnSpPr>
            <a:cxnSpLocks/>
          </p:cNvCxnSpPr>
          <p:nvPr/>
        </p:nvCxnSpPr>
        <p:spPr>
          <a:xfrm>
            <a:off x="1214572" y="3866743"/>
            <a:ext cx="8491475" cy="0"/>
          </a:xfrm>
          <a:prstGeom prst="line">
            <a:avLst/>
          </a:prstGeom>
          <a:ln>
            <a:solidFill>
              <a:schemeClr val="tx2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space réservé du texte 6">
            <a:extLst>
              <a:ext uri="{FF2B5EF4-FFF2-40B4-BE49-F238E27FC236}">
                <a16:creationId xmlns:a16="http://schemas.microsoft.com/office/drawing/2014/main" id="{B7D830D2-7192-A409-979F-A5035E3B31B2}"/>
              </a:ext>
            </a:extLst>
          </p:cNvPr>
          <p:cNvSpPr txBox="1">
            <a:spLocks/>
          </p:cNvSpPr>
          <p:nvPr/>
        </p:nvSpPr>
        <p:spPr>
          <a:xfrm>
            <a:off x="765250" y="867979"/>
            <a:ext cx="2424601" cy="3540718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fr-FR" sz="15000" b="1" noProof="1">
                <a:solidFill>
                  <a:schemeClr val="bg1">
                    <a:lumMod val="95000"/>
                  </a:schemeClr>
                </a:solidFill>
                <a:latin typeface="Inter" panose="02000503000000020004" pitchFamily="2" charset="0"/>
                <a:ea typeface="Inter" panose="02000503000000020004" pitchFamily="2" charset="0"/>
              </a:rPr>
              <a:t>1</a:t>
            </a:r>
          </a:p>
        </p:txBody>
      </p:sp>
      <p:sp>
        <p:nvSpPr>
          <p:cNvPr id="84" name="Espace réservé du texte 6">
            <a:extLst>
              <a:ext uri="{FF2B5EF4-FFF2-40B4-BE49-F238E27FC236}">
                <a16:creationId xmlns:a16="http://schemas.microsoft.com/office/drawing/2014/main" id="{F48ED777-F0D9-2337-3FF6-AEE803A6D25E}"/>
              </a:ext>
            </a:extLst>
          </p:cNvPr>
          <p:cNvSpPr txBox="1">
            <a:spLocks/>
          </p:cNvSpPr>
          <p:nvPr/>
        </p:nvSpPr>
        <p:spPr>
          <a:xfrm>
            <a:off x="5554212" y="867979"/>
            <a:ext cx="2424601" cy="3540718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fr-FR" sz="15000" b="1" noProof="1">
                <a:solidFill>
                  <a:schemeClr val="bg1">
                    <a:lumMod val="95000"/>
                  </a:schemeClr>
                </a:solidFill>
                <a:latin typeface="Inter" panose="02000503000000020004" pitchFamily="2" charset="0"/>
                <a:ea typeface="Inter" panose="02000503000000020004" pitchFamily="2" charset="0"/>
              </a:rPr>
              <a:t>2</a:t>
            </a:r>
          </a:p>
        </p:txBody>
      </p:sp>
      <p:cxnSp>
        <p:nvCxnSpPr>
          <p:cNvPr id="4" name="Gerader Verbinder 33">
            <a:extLst>
              <a:ext uri="{FF2B5EF4-FFF2-40B4-BE49-F238E27FC236}">
                <a16:creationId xmlns:a16="http://schemas.microsoft.com/office/drawing/2014/main" id="{4C4D19A1-4A3D-EBE9-F0FE-1E9F23FAACDB}"/>
              </a:ext>
            </a:extLst>
          </p:cNvPr>
          <p:cNvCxnSpPr>
            <a:cxnSpLocks/>
          </p:cNvCxnSpPr>
          <p:nvPr/>
        </p:nvCxnSpPr>
        <p:spPr>
          <a:xfrm>
            <a:off x="1556474" y="4502170"/>
            <a:ext cx="0" cy="7812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34">
            <a:extLst>
              <a:ext uri="{FF2B5EF4-FFF2-40B4-BE49-F238E27FC236}">
                <a16:creationId xmlns:a16="http://schemas.microsoft.com/office/drawing/2014/main" id="{117858D7-D251-BF4A-578C-BB1671EB8DBF}"/>
              </a:ext>
            </a:extLst>
          </p:cNvPr>
          <p:cNvCxnSpPr>
            <a:cxnSpLocks/>
          </p:cNvCxnSpPr>
          <p:nvPr/>
        </p:nvCxnSpPr>
        <p:spPr>
          <a:xfrm flipH="1">
            <a:off x="3515789" y="4594309"/>
            <a:ext cx="16764" cy="7812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35">
            <a:extLst>
              <a:ext uri="{FF2B5EF4-FFF2-40B4-BE49-F238E27FC236}">
                <a16:creationId xmlns:a16="http://schemas.microsoft.com/office/drawing/2014/main" id="{FFF153DA-1076-6ED8-99AD-DAA5B72C3779}"/>
              </a:ext>
            </a:extLst>
          </p:cNvPr>
          <p:cNvCxnSpPr>
            <a:cxnSpLocks/>
          </p:cNvCxnSpPr>
          <p:nvPr/>
        </p:nvCxnSpPr>
        <p:spPr>
          <a:xfrm flipH="1">
            <a:off x="5881864" y="4817753"/>
            <a:ext cx="0" cy="7812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36">
            <a:extLst>
              <a:ext uri="{FF2B5EF4-FFF2-40B4-BE49-F238E27FC236}">
                <a16:creationId xmlns:a16="http://schemas.microsoft.com/office/drawing/2014/main" id="{CC5DED62-E7DD-7A0D-F980-53C101D43C44}"/>
              </a:ext>
            </a:extLst>
          </p:cNvPr>
          <p:cNvCxnSpPr>
            <a:cxnSpLocks/>
          </p:cNvCxnSpPr>
          <p:nvPr/>
        </p:nvCxnSpPr>
        <p:spPr>
          <a:xfrm flipH="1">
            <a:off x="7884373" y="4959443"/>
            <a:ext cx="5030" cy="838382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E22A1848-D444-86E2-ED2F-EF84972F0095}"/>
              </a:ext>
            </a:extLst>
          </p:cNvPr>
          <p:cNvSpPr txBox="1">
            <a:spLocks/>
          </p:cNvSpPr>
          <p:nvPr/>
        </p:nvSpPr>
        <p:spPr bwMode="gray">
          <a:xfrm flipH="1">
            <a:off x="1621723" y="4975800"/>
            <a:ext cx="1703937" cy="6463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fr-FR" sz="1400" b="1" noProof="1">
                <a:solidFill>
                  <a:schemeClr val="accent1"/>
                </a:solidFill>
              </a:rPr>
              <a:t>Test de la grille de collecte sur 5 MK volontaires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5E0ED2D3-8255-110F-EDFD-E190953A53F2}"/>
              </a:ext>
            </a:extLst>
          </p:cNvPr>
          <p:cNvSpPr txBox="1">
            <a:spLocks/>
          </p:cNvSpPr>
          <p:nvPr/>
        </p:nvSpPr>
        <p:spPr bwMode="gray">
          <a:xfrm flipH="1">
            <a:off x="8012382" y="4986512"/>
            <a:ext cx="1693503" cy="43088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fr-FR" sz="1400" b="1" noProof="1">
                <a:solidFill>
                  <a:schemeClr val="accent1"/>
                </a:solidFill>
              </a:rPr>
              <a:t>Mise en ligne de l’outil web</a:t>
            </a:r>
          </a:p>
        </p:txBody>
      </p:sp>
      <p:grpSp>
        <p:nvGrpSpPr>
          <p:cNvPr id="27" name="Gruppieren 68">
            <a:extLst>
              <a:ext uri="{FF2B5EF4-FFF2-40B4-BE49-F238E27FC236}">
                <a16:creationId xmlns:a16="http://schemas.microsoft.com/office/drawing/2014/main" id="{24F3C774-BB2D-99F2-1DAE-053B91A14D47}"/>
              </a:ext>
            </a:extLst>
          </p:cNvPr>
          <p:cNvGrpSpPr>
            <a:grpSpLocks/>
          </p:cNvGrpSpPr>
          <p:nvPr/>
        </p:nvGrpSpPr>
        <p:grpSpPr>
          <a:xfrm flipH="1">
            <a:off x="1487284" y="3233167"/>
            <a:ext cx="2081001" cy="1269927"/>
            <a:chOff x="7268428" y="2327503"/>
            <a:chExt cx="1039595" cy="1269927"/>
          </a:xfrm>
        </p:grpSpPr>
        <p:sp>
          <p:nvSpPr>
            <p:cNvPr id="28" name="Freihandform: Form 13">
              <a:extLst>
                <a:ext uri="{FF2B5EF4-FFF2-40B4-BE49-F238E27FC236}">
                  <a16:creationId xmlns:a16="http://schemas.microsoft.com/office/drawing/2014/main" id="{45BA00E1-7244-B96F-3273-1CAFC2B496D8}"/>
                </a:ext>
              </a:extLst>
            </p:cNvPr>
            <p:cNvSpPr>
              <a:spLocks/>
            </p:cNvSpPr>
            <p:nvPr/>
          </p:nvSpPr>
          <p:spPr>
            <a:xfrm rot="16200000">
              <a:off x="6703582" y="2892350"/>
              <a:ext cx="1269926" cy="140234"/>
            </a:xfrm>
            <a:custGeom>
              <a:avLst/>
              <a:gdLst>
                <a:gd name="connsiteX0" fmla="*/ 262319 w 262318"/>
                <a:gd name="connsiteY0" fmla="*/ 6096 h 12192"/>
                <a:gd name="connsiteX1" fmla="*/ 131159 w 262318"/>
                <a:gd name="connsiteY1" fmla="*/ 12192 h 12192"/>
                <a:gd name="connsiteX2" fmla="*/ 190 w 262318"/>
                <a:gd name="connsiteY2" fmla="*/ 6382 h 12192"/>
                <a:gd name="connsiteX3" fmla="*/ 0 w 262318"/>
                <a:gd name="connsiteY3" fmla="*/ 6096 h 12192"/>
                <a:gd name="connsiteX4" fmla="*/ 131159 w 262318"/>
                <a:gd name="connsiteY4" fmla="*/ 0 h 12192"/>
                <a:gd name="connsiteX5" fmla="*/ 262319 w 262318"/>
                <a:gd name="connsiteY5" fmla="*/ 6096 h 12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318" h="12192">
                  <a:moveTo>
                    <a:pt x="262319" y="6096"/>
                  </a:moveTo>
                  <a:cubicBezTo>
                    <a:pt x="262319" y="9525"/>
                    <a:pt x="203644" y="12192"/>
                    <a:pt x="131159" y="12192"/>
                  </a:cubicBezTo>
                  <a:cubicBezTo>
                    <a:pt x="58674" y="12192"/>
                    <a:pt x="3715" y="9716"/>
                    <a:pt x="190" y="6382"/>
                  </a:cubicBezTo>
                  <a:cubicBezTo>
                    <a:pt x="190" y="6286"/>
                    <a:pt x="0" y="6191"/>
                    <a:pt x="0" y="6096"/>
                  </a:cubicBezTo>
                  <a:cubicBezTo>
                    <a:pt x="0" y="2667"/>
                    <a:pt x="58769" y="0"/>
                    <a:pt x="131159" y="0"/>
                  </a:cubicBezTo>
                  <a:cubicBezTo>
                    <a:pt x="203549" y="0"/>
                    <a:pt x="262319" y="2667"/>
                    <a:pt x="262319" y="6096"/>
                  </a:cubicBezTo>
                  <a:close/>
                </a:path>
              </a:pathLst>
            </a:custGeom>
            <a:solidFill>
              <a:schemeClr val="accent6"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9" name="Freihandform: Form 14">
              <a:extLst>
                <a:ext uri="{FF2B5EF4-FFF2-40B4-BE49-F238E27FC236}">
                  <a16:creationId xmlns:a16="http://schemas.microsoft.com/office/drawing/2014/main" id="{E136E4EE-861D-7C31-5AD9-39B2E524A239}"/>
                </a:ext>
              </a:extLst>
            </p:cNvPr>
            <p:cNvSpPr>
              <a:spLocks/>
            </p:cNvSpPr>
            <p:nvPr/>
          </p:nvSpPr>
          <p:spPr>
            <a:xfrm rot="16200000">
              <a:off x="7187521" y="2476005"/>
              <a:ext cx="1269003" cy="972000"/>
            </a:xfrm>
            <a:custGeom>
              <a:avLst/>
              <a:gdLst>
                <a:gd name="connsiteX0" fmla="*/ 262128 w 262127"/>
                <a:gd name="connsiteY0" fmla="*/ 0 h 80771"/>
                <a:gd name="connsiteX1" fmla="*/ 230219 w 262127"/>
                <a:gd name="connsiteY1" fmla="*/ 76105 h 80771"/>
                <a:gd name="connsiteX2" fmla="*/ 130969 w 262127"/>
                <a:gd name="connsiteY2" fmla="*/ 80772 h 80771"/>
                <a:gd name="connsiteX3" fmla="*/ 31718 w 262127"/>
                <a:gd name="connsiteY3" fmla="*/ 76105 h 80771"/>
                <a:gd name="connsiteX4" fmla="*/ 31814 w 262127"/>
                <a:gd name="connsiteY4" fmla="*/ 76105 h 80771"/>
                <a:gd name="connsiteX5" fmla="*/ 31814 w 262127"/>
                <a:gd name="connsiteY5" fmla="*/ 75914 h 80771"/>
                <a:gd name="connsiteX6" fmla="*/ 0 w 262127"/>
                <a:gd name="connsiteY6" fmla="*/ 286 h 80771"/>
                <a:gd name="connsiteX7" fmla="*/ 130969 w 262127"/>
                <a:gd name="connsiteY7" fmla="*/ 6096 h 80771"/>
                <a:gd name="connsiteX8" fmla="*/ 262128 w 262127"/>
                <a:gd name="connsiteY8" fmla="*/ 0 h 8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2127" h="80771">
                  <a:moveTo>
                    <a:pt x="262128" y="0"/>
                  </a:moveTo>
                  <a:lnTo>
                    <a:pt x="230219" y="76105"/>
                  </a:lnTo>
                  <a:cubicBezTo>
                    <a:pt x="230219" y="78676"/>
                    <a:pt x="185833" y="80772"/>
                    <a:pt x="130969" y="80772"/>
                  </a:cubicBezTo>
                  <a:cubicBezTo>
                    <a:pt x="76105" y="80772"/>
                    <a:pt x="31718" y="78676"/>
                    <a:pt x="31718" y="76105"/>
                  </a:cubicBezTo>
                  <a:lnTo>
                    <a:pt x="31814" y="76105"/>
                  </a:lnTo>
                  <a:lnTo>
                    <a:pt x="31814" y="75914"/>
                  </a:lnTo>
                  <a:lnTo>
                    <a:pt x="0" y="286"/>
                  </a:lnTo>
                  <a:cubicBezTo>
                    <a:pt x="3524" y="3619"/>
                    <a:pt x="60865" y="6096"/>
                    <a:pt x="130969" y="6096"/>
                  </a:cubicBezTo>
                  <a:cubicBezTo>
                    <a:pt x="201073" y="6096"/>
                    <a:pt x="262128" y="3429"/>
                    <a:pt x="262128" y="0"/>
                  </a:cubicBez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30" name="Gruppieren 67">
            <a:extLst>
              <a:ext uri="{FF2B5EF4-FFF2-40B4-BE49-F238E27FC236}">
                <a16:creationId xmlns:a16="http://schemas.microsoft.com/office/drawing/2014/main" id="{7BA46BCF-D5BA-F670-FAF5-540847ACBC8B}"/>
              </a:ext>
            </a:extLst>
          </p:cNvPr>
          <p:cNvGrpSpPr>
            <a:grpSpLocks/>
          </p:cNvGrpSpPr>
          <p:nvPr/>
        </p:nvGrpSpPr>
        <p:grpSpPr>
          <a:xfrm flipH="1">
            <a:off x="3445874" y="3055403"/>
            <a:ext cx="2080232" cy="1625453"/>
            <a:chOff x="6251843" y="2149049"/>
            <a:chExt cx="1066215" cy="1625453"/>
          </a:xfrm>
        </p:grpSpPr>
        <p:sp>
          <p:nvSpPr>
            <p:cNvPr id="31" name="Freihandform: Form 16">
              <a:extLst>
                <a:ext uri="{FF2B5EF4-FFF2-40B4-BE49-F238E27FC236}">
                  <a16:creationId xmlns:a16="http://schemas.microsoft.com/office/drawing/2014/main" id="{CE084682-40A6-0196-9B81-724ACACB8CD6}"/>
                </a:ext>
              </a:extLst>
            </p:cNvPr>
            <p:cNvSpPr>
              <a:spLocks/>
            </p:cNvSpPr>
            <p:nvPr/>
          </p:nvSpPr>
          <p:spPr>
            <a:xfrm rot="16200000">
              <a:off x="6020024" y="2475083"/>
              <a:ext cx="1624068" cy="972000"/>
            </a:xfrm>
            <a:custGeom>
              <a:avLst/>
              <a:gdLst>
                <a:gd name="connsiteX0" fmla="*/ 334994 w 334994"/>
                <a:gd name="connsiteY0" fmla="*/ 0 h 82105"/>
                <a:gd name="connsiteX1" fmla="*/ 303181 w 334994"/>
                <a:gd name="connsiteY1" fmla="*/ 75724 h 82105"/>
                <a:gd name="connsiteX2" fmla="*/ 167450 w 334994"/>
                <a:gd name="connsiteY2" fmla="*/ 82105 h 82105"/>
                <a:gd name="connsiteX3" fmla="*/ 31718 w 334994"/>
                <a:gd name="connsiteY3" fmla="*/ 75724 h 82105"/>
                <a:gd name="connsiteX4" fmla="*/ 0 w 334994"/>
                <a:gd name="connsiteY4" fmla="*/ 95 h 82105"/>
                <a:gd name="connsiteX5" fmla="*/ 167450 w 334994"/>
                <a:gd name="connsiteY5" fmla="*/ 7430 h 82105"/>
                <a:gd name="connsiteX6" fmla="*/ 334994 w 334994"/>
                <a:gd name="connsiteY6" fmla="*/ 0 h 82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4994" h="82105">
                  <a:moveTo>
                    <a:pt x="334994" y="0"/>
                  </a:moveTo>
                  <a:lnTo>
                    <a:pt x="303181" y="75724"/>
                  </a:lnTo>
                  <a:cubicBezTo>
                    <a:pt x="303181" y="79248"/>
                    <a:pt x="242411" y="82105"/>
                    <a:pt x="167450" y="82105"/>
                  </a:cubicBezTo>
                  <a:cubicBezTo>
                    <a:pt x="92488" y="82105"/>
                    <a:pt x="31718" y="79248"/>
                    <a:pt x="31718" y="75724"/>
                  </a:cubicBezTo>
                  <a:lnTo>
                    <a:pt x="0" y="95"/>
                  </a:lnTo>
                  <a:cubicBezTo>
                    <a:pt x="5143" y="4286"/>
                    <a:pt x="78200" y="7430"/>
                    <a:pt x="167450" y="7430"/>
                  </a:cubicBezTo>
                  <a:cubicBezTo>
                    <a:pt x="256699" y="7430"/>
                    <a:pt x="330518" y="4191"/>
                    <a:pt x="334994" y="0"/>
                  </a:cubicBez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2" name="Freihandform: Form 17">
              <a:extLst>
                <a:ext uri="{FF2B5EF4-FFF2-40B4-BE49-F238E27FC236}">
                  <a16:creationId xmlns:a16="http://schemas.microsoft.com/office/drawing/2014/main" id="{3BC315C1-C6E7-E393-FF76-29174673FC9F}"/>
                </a:ext>
              </a:extLst>
            </p:cNvPr>
            <p:cNvSpPr>
              <a:spLocks/>
            </p:cNvSpPr>
            <p:nvPr/>
          </p:nvSpPr>
          <p:spPr>
            <a:xfrm rot="16200000">
              <a:off x="5529647" y="2872631"/>
              <a:ext cx="1624067" cy="179675"/>
            </a:xfrm>
            <a:custGeom>
              <a:avLst/>
              <a:gdLst>
                <a:gd name="connsiteX0" fmla="*/ 335471 w 335470"/>
                <a:gd name="connsiteY0" fmla="*/ 7810 h 15621"/>
                <a:gd name="connsiteX1" fmla="*/ 335280 w 335470"/>
                <a:gd name="connsiteY1" fmla="*/ 8192 h 15621"/>
                <a:gd name="connsiteX2" fmla="*/ 167735 w 335470"/>
                <a:gd name="connsiteY2" fmla="*/ 15621 h 15621"/>
                <a:gd name="connsiteX3" fmla="*/ 286 w 335470"/>
                <a:gd name="connsiteY3" fmla="*/ 8287 h 15621"/>
                <a:gd name="connsiteX4" fmla="*/ 190 w 335470"/>
                <a:gd name="connsiteY4" fmla="*/ 8192 h 15621"/>
                <a:gd name="connsiteX5" fmla="*/ 0 w 335470"/>
                <a:gd name="connsiteY5" fmla="*/ 7810 h 15621"/>
                <a:gd name="connsiteX6" fmla="*/ 167735 w 335470"/>
                <a:gd name="connsiteY6" fmla="*/ 0 h 15621"/>
                <a:gd name="connsiteX7" fmla="*/ 335471 w 335470"/>
                <a:gd name="connsiteY7" fmla="*/ 7810 h 15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5470" h="15621">
                  <a:moveTo>
                    <a:pt x="335471" y="7810"/>
                  </a:moveTo>
                  <a:cubicBezTo>
                    <a:pt x="335471" y="7810"/>
                    <a:pt x="335375" y="8096"/>
                    <a:pt x="335280" y="8192"/>
                  </a:cubicBezTo>
                  <a:cubicBezTo>
                    <a:pt x="330803" y="12383"/>
                    <a:pt x="257556" y="15621"/>
                    <a:pt x="167735" y="15621"/>
                  </a:cubicBezTo>
                  <a:cubicBezTo>
                    <a:pt x="77915" y="15621"/>
                    <a:pt x="5429" y="12478"/>
                    <a:pt x="286" y="8287"/>
                  </a:cubicBezTo>
                  <a:cubicBezTo>
                    <a:pt x="286" y="8287"/>
                    <a:pt x="286" y="8192"/>
                    <a:pt x="190" y="8192"/>
                  </a:cubicBezTo>
                  <a:cubicBezTo>
                    <a:pt x="95" y="8096"/>
                    <a:pt x="0" y="7906"/>
                    <a:pt x="0" y="7810"/>
                  </a:cubicBezTo>
                  <a:cubicBezTo>
                    <a:pt x="0" y="3429"/>
                    <a:pt x="75152" y="0"/>
                    <a:pt x="167735" y="0"/>
                  </a:cubicBezTo>
                  <a:cubicBezTo>
                    <a:pt x="260318" y="0"/>
                    <a:pt x="335471" y="3429"/>
                    <a:pt x="335471" y="7810"/>
                  </a:cubicBezTo>
                  <a:close/>
                </a:path>
              </a:pathLst>
            </a:custGeom>
            <a:solidFill>
              <a:schemeClr val="accent6"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33" name="Gruppieren 66">
            <a:extLst>
              <a:ext uri="{FF2B5EF4-FFF2-40B4-BE49-F238E27FC236}">
                <a16:creationId xmlns:a16="http://schemas.microsoft.com/office/drawing/2014/main" id="{3F03F7C4-0060-C579-9550-2B6087AE4129}"/>
              </a:ext>
            </a:extLst>
          </p:cNvPr>
          <p:cNvGrpSpPr>
            <a:grpSpLocks/>
          </p:cNvGrpSpPr>
          <p:nvPr/>
        </p:nvGrpSpPr>
        <p:grpSpPr>
          <a:xfrm flipH="1">
            <a:off x="5800582" y="2878332"/>
            <a:ext cx="2211800" cy="1979597"/>
            <a:chOff x="5194714" y="1971976"/>
            <a:chExt cx="1078385" cy="1979597"/>
          </a:xfrm>
        </p:grpSpPr>
        <p:sp>
          <p:nvSpPr>
            <p:cNvPr id="34" name="Freihandform: Form 19">
              <a:extLst>
                <a:ext uri="{FF2B5EF4-FFF2-40B4-BE49-F238E27FC236}">
                  <a16:creationId xmlns:a16="http://schemas.microsoft.com/office/drawing/2014/main" id="{3166E56D-A003-7BD2-CB16-A328FB0CBD5A}"/>
                </a:ext>
              </a:extLst>
            </p:cNvPr>
            <p:cNvSpPr>
              <a:spLocks/>
            </p:cNvSpPr>
            <p:nvPr/>
          </p:nvSpPr>
          <p:spPr>
            <a:xfrm rot="16200000">
              <a:off x="4315167" y="2852911"/>
              <a:ext cx="1978209" cy="219116"/>
            </a:xfrm>
            <a:custGeom>
              <a:avLst/>
              <a:gdLst>
                <a:gd name="connsiteX0" fmla="*/ 408623 w 408622"/>
                <a:gd name="connsiteY0" fmla="*/ 9525 h 19050"/>
                <a:gd name="connsiteX1" fmla="*/ 204311 w 408622"/>
                <a:gd name="connsiteY1" fmla="*/ 19050 h 19050"/>
                <a:gd name="connsiteX2" fmla="*/ 286 w 408622"/>
                <a:gd name="connsiteY2" fmla="*/ 10001 h 19050"/>
                <a:gd name="connsiteX3" fmla="*/ 0 w 408622"/>
                <a:gd name="connsiteY3" fmla="*/ 9525 h 19050"/>
                <a:gd name="connsiteX4" fmla="*/ 204311 w 408622"/>
                <a:gd name="connsiteY4" fmla="*/ 0 h 19050"/>
                <a:gd name="connsiteX5" fmla="*/ 408623 w 408622"/>
                <a:gd name="connsiteY5" fmla="*/ 9525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622" h="19050">
                  <a:moveTo>
                    <a:pt x="408623" y="9525"/>
                  </a:moveTo>
                  <a:cubicBezTo>
                    <a:pt x="408623" y="14764"/>
                    <a:pt x="317183" y="19050"/>
                    <a:pt x="204311" y="19050"/>
                  </a:cubicBezTo>
                  <a:cubicBezTo>
                    <a:pt x="91440" y="19050"/>
                    <a:pt x="5715" y="15049"/>
                    <a:pt x="286" y="10001"/>
                  </a:cubicBezTo>
                  <a:cubicBezTo>
                    <a:pt x="95" y="9811"/>
                    <a:pt x="0" y="9716"/>
                    <a:pt x="0" y="9525"/>
                  </a:cubicBezTo>
                  <a:cubicBezTo>
                    <a:pt x="0" y="4286"/>
                    <a:pt x="91440" y="0"/>
                    <a:pt x="204311" y="0"/>
                  </a:cubicBezTo>
                  <a:cubicBezTo>
                    <a:pt x="317183" y="0"/>
                    <a:pt x="408623" y="4286"/>
                    <a:pt x="408623" y="9525"/>
                  </a:cubicBezTo>
                  <a:close/>
                </a:path>
              </a:pathLst>
            </a:custGeom>
            <a:solidFill>
              <a:schemeClr val="accent3"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5" name="Freihandform: Form 20">
              <a:extLst>
                <a:ext uri="{FF2B5EF4-FFF2-40B4-BE49-F238E27FC236}">
                  <a16:creationId xmlns:a16="http://schemas.microsoft.com/office/drawing/2014/main" id="{0593F815-111B-40DC-1384-CA97F88E4F8F}"/>
                </a:ext>
              </a:extLst>
            </p:cNvPr>
            <p:cNvSpPr>
              <a:spLocks/>
            </p:cNvSpPr>
            <p:nvPr/>
          </p:nvSpPr>
          <p:spPr>
            <a:xfrm rot="16200000">
              <a:off x="4797993" y="2475082"/>
              <a:ext cx="1978211" cy="972000"/>
            </a:xfrm>
            <a:custGeom>
              <a:avLst/>
              <a:gdLst>
                <a:gd name="connsiteX0" fmla="*/ 408337 w 408336"/>
                <a:gd name="connsiteY0" fmla="*/ 0 h 84296"/>
                <a:gd name="connsiteX1" fmla="*/ 376333 w 408336"/>
                <a:gd name="connsiteY1" fmla="*/ 76200 h 84296"/>
                <a:gd name="connsiteX2" fmla="*/ 204026 w 408336"/>
                <a:gd name="connsiteY2" fmla="*/ 84296 h 84296"/>
                <a:gd name="connsiteX3" fmla="*/ 31718 w 408336"/>
                <a:gd name="connsiteY3" fmla="*/ 76200 h 84296"/>
                <a:gd name="connsiteX4" fmla="*/ 0 w 408336"/>
                <a:gd name="connsiteY4" fmla="*/ 476 h 84296"/>
                <a:gd name="connsiteX5" fmla="*/ 204026 w 408336"/>
                <a:gd name="connsiteY5" fmla="*/ 9525 h 84296"/>
                <a:gd name="connsiteX6" fmla="*/ 408337 w 408336"/>
                <a:gd name="connsiteY6" fmla="*/ 0 h 8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336" h="84296">
                  <a:moveTo>
                    <a:pt x="408337" y="0"/>
                  </a:moveTo>
                  <a:lnTo>
                    <a:pt x="376333" y="76200"/>
                  </a:lnTo>
                  <a:cubicBezTo>
                    <a:pt x="376333" y="80677"/>
                    <a:pt x="299180" y="84296"/>
                    <a:pt x="204026" y="84296"/>
                  </a:cubicBezTo>
                  <a:cubicBezTo>
                    <a:pt x="108871" y="84296"/>
                    <a:pt x="31718" y="80677"/>
                    <a:pt x="31718" y="76200"/>
                  </a:cubicBezTo>
                  <a:lnTo>
                    <a:pt x="0" y="476"/>
                  </a:lnTo>
                  <a:cubicBezTo>
                    <a:pt x="5429" y="5524"/>
                    <a:pt x="94679" y="9525"/>
                    <a:pt x="204026" y="9525"/>
                  </a:cubicBezTo>
                  <a:cubicBezTo>
                    <a:pt x="313373" y="9525"/>
                    <a:pt x="408337" y="5239"/>
                    <a:pt x="408337" y="0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36" name="Gruppieren 65">
            <a:extLst>
              <a:ext uri="{FF2B5EF4-FFF2-40B4-BE49-F238E27FC236}">
                <a16:creationId xmlns:a16="http://schemas.microsoft.com/office/drawing/2014/main" id="{BBB84FA5-9CEB-4CB8-B663-7CC43A718D15}"/>
              </a:ext>
            </a:extLst>
          </p:cNvPr>
          <p:cNvGrpSpPr>
            <a:grpSpLocks/>
          </p:cNvGrpSpPr>
          <p:nvPr/>
        </p:nvGrpSpPr>
        <p:grpSpPr>
          <a:xfrm flipH="1">
            <a:off x="7759897" y="2694001"/>
            <a:ext cx="2211800" cy="2332812"/>
            <a:chOff x="4101317" y="1795372"/>
            <a:chExt cx="1104678" cy="2332812"/>
          </a:xfrm>
        </p:grpSpPr>
        <p:sp>
          <p:nvSpPr>
            <p:cNvPr id="37" name="Freihandform: Form 22">
              <a:extLst>
                <a:ext uri="{FF2B5EF4-FFF2-40B4-BE49-F238E27FC236}">
                  <a16:creationId xmlns:a16="http://schemas.microsoft.com/office/drawing/2014/main" id="{C138335D-DCBE-1480-4A63-3B0EF693386A}"/>
                </a:ext>
              </a:extLst>
            </p:cNvPr>
            <p:cNvSpPr>
              <a:spLocks/>
            </p:cNvSpPr>
            <p:nvPr/>
          </p:nvSpPr>
          <p:spPr>
            <a:xfrm rot="16200000">
              <a:off x="3554279" y="2475088"/>
              <a:ext cx="2331432" cy="972000"/>
            </a:xfrm>
            <a:custGeom>
              <a:avLst/>
              <a:gdLst>
                <a:gd name="connsiteX0" fmla="*/ 481013 w 481012"/>
                <a:gd name="connsiteY0" fmla="*/ 0 h 85439"/>
                <a:gd name="connsiteX1" fmla="*/ 449390 w 481012"/>
                <a:gd name="connsiteY1" fmla="*/ 75629 h 85439"/>
                <a:gd name="connsiteX2" fmla="*/ 240506 w 481012"/>
                <a:gd name="connsiteY2" fmla="*/ 85439 h 85439"/>
                <a:gd name="connsiteX3" fmla="*/ 31623 w 481012"/>
                <a:gd name="connsiteY3" fmla="*/ 75629 h 85439"/>
                <a:gd name="connsiteX4" fmla="*/ 31718 w 481012"/>
                <a:gd name="connsiteY4" fmla="*/ 75629 h 85439"/>
                <a:gd name="connsiteX5" fmla="*/ 0 w 481012"/>
                <a:gd name="connsiteY5" fmla="*/ 0 h 85439"/>
                <a:gd name="connsiteX6" fmla="*/ 240506 w 481012"/>
                <a:gd name="connsiteY6" fmla="*/ 10668 h 85439"/>
                <a:gd name="connsiteX7" fmla="*/ 481013 w 481012"/>
                <a:gd name="connsiteY7" fmla="*/ 0 h 8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1012" h="85439">
                  <a:moveTo>
                    <a:pt x="481013" y="0"/>
                  </a:moveTo>
                  <a:lnTo>
                    <a:pt x="449390" y="75629"/>
                  </a:lnTo>
                  <a:cubicBezTo>
                    <a:pt x="449390" y="81058"/>
                    <a:pt x="355854" y="85439"/>
                    <a:pt x="240506" y="85439"/>
                  </a:cubicBezTo>
                  <a:cubicBezTo>
                    <a:pt x="125159" y="85439"/>
                    <a:pt x="31623" y="81058"/>
                    <a:pt x="31623" y="75629"/>
                  </a:cubicBezTo>
                  <a:lnTo>
                    <a:pt x="31718" y="75629"/>
                  </a:lnTo>
                  <a:lnTo>
                    <a:pt x="0" y="0"/>
                  </a:lnTo>
                  <a:cubicBezTo>
                    <a:pt x="6477" y="5906"/>
                    <a:pt x="111728" y="10668"/>
                    <a:pt x="240506" y="10668"/>
                  </a:cubicBezTo>
                  <a:cubicBezTo>
                    <a:pt x="369284" y="10668"/>
                    <a:pt x="474536" y="5906"/>
                    <a:pt x="481013" y="0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8" name="Freihandform: Form 23">
              <a:extLst>
                <a:ext uri="{FF2B5EF4-FFF2-40B4-BE49-F238E27FC236}">
                  <a16:creationId xmlns:a16="http://schemas.microsoft.com/office/drawing/2014/main" id="{68860373-86A2-88E5-2CEA-35469D3CCD68}"/>
                </a:ext>
              </a:extLst>
            </p:cNvPr>
            <p:cNvSpPr>
              <a:spLocks/>
            </p:cNvSpPr>
            <p:nvPr/>
          </p:nvSpPr>
          <p:spPr>
            <a:xfrm rot="16200000">
              <a:off x="3064874" y="2833196"/>
              <a:ext cx="2331431" cy="258545"/>
            </a:xfrm>
            <a:custGeom>
              <a:avLst/>
              <a:gdLst>
                <a:gd name="connsiteX0" fmla="*/ 481584 w 481584"/>
                <a:gd name="connsiteY0" fmla="*/ 11239 h 22478"/>
                <a:gd name="connsiteX1" fmla="*/ 481298 w 481584"/>
                <a:gd name="connsiteY1" fmla="*/ 11811 h 22478"/>
                <a:gd name="connsiteX2" fmla="*/ 240792 w 481584"/>
                <a:gd name="connsiteY2" fmla="*/ 22479 h 22478"/>
                <a:gd name="connsiteX3" fmla="*/ 286 w 481584"/>
                <a:gd name="connsiteY3" fmla="*/ 11811 h 22478"/>
                <a:gd name="connsiteX4" fmla="*/ 0 w 481584"/>
                <a:gd name="connsiteY4" fmla="*/ 11239 h 22478"/>
                <a:gd name="connsiteX5" fmla="*/ 240792 w 481584"/>
                <a:gd name="connsiteY5" fmla="*/ 0 h 22478"/>
                <a:gd name="connsiteX6" fmla="*/ 481584 w 481584"/>
                <a:gd name="connsiteY6" fmla="*/ 11239 h 2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1584" h="22478">
                  <a:moveTo>
                    <a:pt x="481584" y="11239"/>
                  </a:moveTo>
                  <a:cubicBezTo>
                    <a:pt x="481584" y="11239"/>
                    <a:pt x="481489" y="11621"/>
                    <a:pt x="481298" y="11811"/>
                  </a:cubicBezTo>
                  <a:cubicBezTo>
                    <a:pt x="474821" y="17717"/>
                    <a:pt x="369570" y="22479"/>
                    <a:pt x="240792" y="22479"/>
                  </a:cubicBezTo>
                  <a:cubicBezTo>
                    <a:pt x="112014" y="22479"/>
                    <a:pt x="6763" y="17717"/>
                    <a:pt x="286" y="11811"/>
                  </a:cubicBezTo>
                  <a:cubicBezTo>
                    <a:pt x="95" y="11621"/>
                    <a:pt x="0" y="11430"/>
                    <a:pt x="0" y="11239"/>
                  </a:cubicBezTo>
                  <a:cubicBezTo>
                    <a:pt x="0" y="5048"/>
                    <a:pt x="107823" y="0"/>
                    <a:pt x="240792" y="0"/>
                  </a:cubicBezTo>
                  <a:cubicBezTo>
                    <a:pt x="373761" y="0"/>
                    <a:pt x="481584" y="5048"/>
                    <a:pt x="481584" y="11239"/>
                  </a:cubicBezTo>
                  <a:close/>
                </a:path>
              </a:pathLst>
            </a:custGeom>
            <a:solidFill>
              <a:schemeClr val="accent3"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sp>
        <p:nvSpPr>
          <p:cNvPr id="47" name="Textfeld 114">
            <a:extLst>
              <a:ext uri="{FF2B5EF4-FFF2-40B4-BE49-F238E27FC236}">
                <a16:creationId xmlns:a16="http://schemas.microsoft.com/office/drawing/2014/main" id="{91BF6F1C-0819-FF78-FAD0-FF3586D2DE91}"/>
              </a:ext>
            </a:extLst>
          </p:cNvPr>
          <p:cNvSpPr txBox="1">
            <a:spLocks/>
          </p:cNvSpPr>
          <p:nvPr/>
        </p:nvSpPr>
        <p:spPr>
          <a:xfrm flipH="1">
            <a:off x="5566332" y="3801289"/>
            <a:ext cx="1059336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</a:pPr>
            <a:r>
              <a:rPr lang="fr-FR" sz="2000" b="1" noProof="1">
                <a:solidFill>
                  <a:schemeClr val="bg1"/>
                </a:solidFill>
                <a:cs typeface="Helvetica" panose="020B0604020202020204" pitchFamily="34" charset="0"/>
              </a:rPr>
              <a:t>2.1</a:t>
            </a:r>
          </a:p>
        </p:txBody>
      </p:sp>
      <p:sp>
        <p:nvSpPr>
          <p:cNvPr id="49" name="Textfeld 114">
            <a:extLst>
              <a:ext uri="{FF2B5EF4-FFF2-40B4-BE49-F238E27FC236}">
                <a16:creationId xmlns:a16="http://schemas.microsoft.com/office/drawing/2014/main" id="{29E8A236-C099-F780-F91E-8CF72DBFD5F0}"/>
              </a:ext>
            </a:extLst>
          </p:cNvPr>
          <p:cNvSpPr txBox="1">
            <a:spLocks/>
          </p:cNvSpPr>
          <p:nvPr/>
        </p:nvSpPr>
        <p:spPr>
          <a:xfrm flipH="1">
            <a:off x="3355959" y="3800271"/>
            <a:ext cx="1029283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</a:pPr>
            <a:r>
              <a:rPr lang="fr-FR" sz="2000" b="1" noProof="1">
                <a:solidFill>
                  <a:schemeClr val="tx2"/>
                </a:solidFill>
                <a:cs typeface="Helvetica" panose="020B0604020202020204" pitchFamily="34" charset="0"/>
              </a:rPr>
              <a:t>1.2</a:t>
            </a:r>
          </a:p>
        </p:txBody>
      </p:sp>
      <p:sp>
        <p:nvSpPr>
          <p:cNvPr id="50" name="Textfeld 114">
            <a:extLst>
              <a:ext uri="{FF2B5EF4-FFF2-40B4-BE49-F238E27FC236}">
                <a16:creationId xmlns:a16="http://schemas.microsoft.com/office/drawing/2014/main" id="{8D068AA1-931D-E889-C669-E870EE04DCD8}"/>
              </a:ext>
            </a:extLst>
          </p:cNvPr>
          <p:cNvSpPr txBox="1">
            <a:spLocks/>
          </p:cNvSpPr>
          <p:nvPr/>
        </p:nvSpPr>
        <p:spPr>
          <a:xfrm flipH="1">
            <a:off x="1618530" y="3802786"/>
            <a:ext cx="1029284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</a:pPr>
            <a:r>
              <a:rPr lang="fr-FR" sz="2000" b="1" noProof="1">
                <a:solidFill>
                  <a:schemeClr val="tx2"/>
                </a:solidFill>
                <a:cs typeface="Helvetica" panose="020B0604020202020204" pitchFamily="34" charset="0"/>
              </a:rPr>
              <a:t>1.1</a:t>
            </a:r>
          </a:p>
        </p:txBody>
      </p:sp>
      <p:sp>
        <p:nvSpPr>
          <p:cNvPr id="54" name="Textplatzhalter 9">
            <a:extLst>
              <a:ext uri="{FF2B5EF4-FFF2-40B4-BE49-F238E27FC236}">
                <a16:creationId xmlns:a16="http://schemas.microsoft.com/office/drawing/2014/main" id="{645E7596-9C45-941E-5C8A-9E4C7967F88E}"/>
              </a:ext>
            </a:extLst>
          </p:cNvPr>
          <p:cNvSpPr txBox="1">
            <a:spLocks/>
          </p:cNvSpPr>
          <p:nvPr/>
        </p:nvSpPr>
        <p:spPr bwMode="gray">
          <a:xfrm flipH="1">
            <a:off x="9857580" y="3472945"/>
            <a:ext cx="2026533" cy="78483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fr-FR" sz="1800" b="1" noProof="1">
                <a:solidFill>
                  <a:schemeClr val="tx2"/>
                </a:solidFill>
              </a:rPr>
              <a:t>Outil web en ligne</a:t>
            </a:r>
          </a:p>
        </p:txBody>
      </p:sp>
      <p:sp>
        <p:nvSpPr>
          <p:cNvPr id="55" name="Gleichschenkliges Dreieck 39">
            <a:extLst>
              <a:ext uri="{FF2B5EF4-FFF2-40B4-BE49-F238E27FC236}">
                <a16:creationId xmlns:a16="http://schemas.microsoft.com/office/drawing/2014/main" id="{69C57AB1-39C5-10F1-ED10-E54931A538E3}"/>
              </a:ext>
            </a:extLst>
          </p:cNvPr>
          <p:cNvSpPr>
            <a:spLocks/>
          </p:cNvSpPr>
          <p:nvPr/>
        </p:nvSpPr>
        <p:spPr>
          <a:xfrm rot="5400000" flipH="1">
            <a:off x="9650949" y="3805203"/>
            <a:ext cx="240570" cy="120313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noProof="1">
              <a:solidFill>
                <a:srgbClr val="454545"/>
              </a:solidFill>
            </a:endParaRPr>
          </a:p>
        </p:txBody>
      </p:sp>
      <p:sp>
        <p:nvSpPr>
          <p:cNvPr id="73" name="Titre 1">
            <a:extLst>
              <a:ext uri="{FF2B5EF4-FFF2-40B4-BE49-F238E27FC236}">
                <a16:creationId xmlns:a16="http://schemas.microsoft.com/office/drawing/2014/main" id="{16F9756C-A342-3294-550F-2CEA3846CD25}"/>
              </a:ext>
            </a:extLst>
          </p:cNvPr>
          <p:cNvSpPr txBox="1">
            <a:spLocks/>
          </p:cNvSpPr>
          <p:nvPr/>
        </p:nvSpPr>
        <p:spPr>
          <a:xfrm>
            <a:off x="538162" y="250726"/>
            <a:ext cx="11115675" cy="366527"/>
          </a:xfrm>
          <a:prstGeom prst="rect">
            <a:avLst/>
          </a:prstGeom>
        </p:spPr>
        <p:txBody>
          <a:bodyPr vert="horz" lIns="0" tIns="36000" rIns="3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i="0" kern="1200" baseline="0">
                <a:solidFill>
                  <a:schemeClr val="accent1"/>
                </a:solidFill>
                <a:latin typeface="CocogooseProNarrow Darkmode" panose="00000400000000000000" pitchFamily="2" charset="0"/>
                <a:ea typeface="+mj-ea"/>
                <a:cs typeface="+mj-cs"/>
              </a:defRPr>
            </a:lvl1pPr>
          </a:lstStyle>
          <a:p>
            <a:r>
              <a:rPr lang="fr-FR" noProof="1"/>
              <a:t>L’outil web est l’aboutissement de plusieurs itérations </a:t>
            </a:r>
          </a:p>
        </p:txBody>
      </p:sp>
      <p:sp>
        <p:nvSpPr>
          <p:cNvPr id="83" name="Titre 7">
            <a:extLst>
              <a:ext uri="{FF2B5EF4-FFF2-40B4-BE49-F238E27FC236}">
                <a16:creationId xmlns:a16="http://schemas.microsoft.com/office/drawing/2014/main" id="{1DC45C05-A953-5DCF-CDCC-B31A23319A4D}"/>
              </a:ext>
            </a:extLst>
          </p:cNvPr>
          <p:cNvSpPr txBox="1">
            <a:spLocks/>
          </p:cNvSpPr>
          <p:nvPr/>
        </p:nvSpPr>
        <p:spPr>
          <a:xfrm>
            <a:off x="1214572" y="1516257"/>
            <a:ext cx="4306070" cy="76893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i="0" kern="1200" baseline="0">
                <a:solidFill>
                  <a:schemeClr val="accent1"/>
                </a:solidFill>
                <a:latin typeface="CocogooseProNarrow Darkmode" panose="00000400000000000000" pitchFamily="2" charset="0"/>
                <a:ea typeface="+mj-ea"/>
                <a:cs typeface="+mj-cs"/>
              </a:defRPr>
            </a:lvl1pPr>
          </a:lstStyle>
          <a:p>
            <a:r>
              <a:rPr lang="fr-FR" sz="1800" b="0" noProof="1">
                <a:solidFill>
                  <a:schemeClr val="accent6"/>
                </a:solidFill>
                <a:latin typeface="+mj-lt"/>
              </a:rPr>
              <a:t>Une empreinte carbone moyenne d’une séance de kiné calculée à partir d’un échantillon et d’une grille de collecte</a:t>
            </a:r>
          </a:p>
        </p:txBody>
      </p:sp>
      <p:sp>
        <p:nvSpPr>
          <p:cNvPr id="85" name="Titre 7">
            <a:extLst>
              <a:ext uri="{FF2B5EF4-FFF2-40B4-BE49-F238E27FC236}">
                <a16:creationId xmlns:a16="http://schemas.microsoft.com/office/drawing/2014/main" id="{192EED58-BEC0-8D26-DB47-DE62159645BA}"/>
              </a:ext>
            </a:extLst>
          </p:cNvPr>
          <p:cNvSpPr txBox="1">
            <a:spLocks/>
          </p:cNvSpPr>
          <p:nvPr/>
        </p:nvSpPr>
        <p:spPr>
          <a:xfrm>
            <a:off x="6096000" y="1516257"/>
            <a:ext cx="4419600" cy="76893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i="0" kern="1200" baseline="0">
                <a:solidFill>
                  <a:schemeClr val="accent1"/>
                </a:solidFill>
                <a:latin typeface="CocogooseProNarrow Darkmode" panose="00000400000000000000" pitchFamily="2" charset="0"/>
                <a:ea typeface="+mj-ea"/>
                <a:cs typeface="+mj-cs"/>
              </a:defRPr>
            </a:lvl1pPr>
          </a:lstStyle>
          <a:p>
            <a:r>
              <a:rPr lang="fr-FR" sz="1800" b="0" noProof="1">
                <a:solidFill>
                  <a:schemeClr val="accent3"/>
                </a:solidFill>
                <a:latin typeface="+mj-lt"/>
              </a:rPr>
              <a:t>Un outil web d’empreinte carbone simple et ludique</a:t>
            </a:r>
          </a:p>
        </p:txBody>
      </p:sp>
      <p:pic>
        <p:nvPicPr>
          <p:cNvPr id="91" name="Pic">
            <a:extLst>
              <a:ext uri="{FF2B5EF4-FFF2-40B4-BE49-F238E27FC236}">
                <a16:creationId xmlns:a16="http://schemas.microsoft.com/office/drawing/2014/main" id="{B0B7DFF9-4C11-45DB-9E0E-1FC5C56AAC00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>
            <a:off x="10310813" y="4233863"/>
            <a:ext cx="968375" cy="968375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95" name="Textfeld 114">
            <a:extLst>
              <a:ext uri="{FF2B5EF4-FFF2-40B4-BE49-F238E27FC236}">
                <a16:creationId xmlns:a16="http://schemas.microsoft.com/office/drawing/2014/main" id="{5C1D1E8F-D6B1-0161-6412-40F1A5390886}"/>
              </a:ext>
            </a:extLst>
          </p:cNvPr>
          <p:cNvSpPr txBox="1">
            <a:spLocks/>
          </p:cNvSpPr>
          <p:nvPr/>
        </p:nvSpPr>
        <p:spPr>
          <a:xfrm flipH="1">
            <a:off x="7540419" y="3793935"/>
            <a:ext cx="1059336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</a:pPr>
            <a:r>
              <a:rPr lang="fr-FR" sz="2000" b="1" noProof="1">
                <a:solidFill>
                  <a:schemeClr val="bg1"/>
                </a:solidFill>
                <a:cs typeface="Helvetica" panose="020B0604020202020204" pitchFamily="34" charset="0"/>
              </a:rPr>
              <a:t>2.2</a:t>
            </a:r>
          </a:p>
        </p:txBody>
      </p:sp>
    </p:spTree>
    <p:extLst>
      <p:ext uri="{BB962C8B-B14F-4D97-AF65-F5344CB8AC3E}">
        <p14:creationId xmlns:p14="http://schemas.microsoft.com/office/powerpoint/2010/main" val="27376038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992507C8-34A1-B9C7-19C5-E7C56BC14F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B5A6716-DBF2-AF4C-9665-1BA53E8D7A19}" type="slidenum">
              <a:rPr lang="fr-FR" smtClean="0"/>
              <a:pPr/>
              <a:t>7</a:t>
            </a:fld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1E7FE3BA-A344-039F-EDD1-CA004BC56BA1}"/>
              </a:ext>
            </a:extLst>
          </p:cNvPr>
          <p:cNvSpPr txBox="1"/>
          <p:nvPr/>
        </p:nvSpPr>
        <p:spPr>
          <a:xfrm>
            <a:off x="4571149" y="1269225"/>
            <a:ext cx="6869242" cy="3708000"/>
          </a:xfrm>
          <a:prstGeom prst="roundRect">
            <a:avLst>
              <a:gd name="adj" fmla="val 3776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0" rIns="72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algn="ctr" eaLnBrk="0" hangingPunct="0">
              <a:spcAft>
                <a:spcPts val="600"/>
              </a:spcAft>
              <a:buClr>
                <a:schemeClr val="accent3"/>
              </a:buClr>
              <a:defRPr sz="1400" b="1">
                <a:solidFill>
                  <a:schemeClr val="bg1"/>
                </a:solidFill>
                <a:ea typeface="Century Gothic"/>
                <a:cs typeface="Century Gothic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fr-FR" sz="1400" noProof="0">
                <a:solidFill>
                  <a:schemeClr val="accent4"/>
                </a:solidFill>
              </a:rPr>
              <a:t>2025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4219123-4612-4D27-1055-DC1610409A59}"/>
              </a:ext>
            </a:extLst>
          </p:cNvPr>
          <p:cNvSpPr txBox="1"/>
          <p:nvPr/>
        </p:nvSpPr>
        <p:spPr>
          <a:xfrm>
            <a:off x="3410117" y="1269225"/>
            <a:ext cx="1108684" cy="3708000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0" rIns="72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algn="ctr" eaLnBrk="0" hangingPunct="0">
              <a:spcAft>
                <a:spcPts val="600"/>
              </a:spcAft>
              <a:buClr>
                <a:schemeClr val="accent3"/>
              </a:buClr>
              <a:defRPr sz="1400" b="1">
                <a:solidFill>
                  <a:schemeClr val="bg1"/>
                </a:solidFill>
                <a:ea typeface="Century Gothic"/>
                <a:cs typeface="Century Gothic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fr-FR" sz="1400" noProof="0">
                <a:solidFill>
                  <a:schemeClr val="accent4"/>
                </a:solidFill>
              </a:rPr>
              <a:t>2024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C944955A-1546-C491-09FE-3E4E0B1221B0}"/>
              </a:ext>
            </a:extLst>
          </p:cNvPr>
          <p:cNvSpPr txBox="1">
            <a:spLocks/>
          </p:cNvSpPr>
          <p:nvPr/>
        </p:nvSpPr>
        <p:spPr>
          <a:xfrm>
            <a:off x="536574" y="314960"/>
            <a:ext cx="11115675" cy="8964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i="0" kern="1200" baseline="0">
                <a:solidFill>
                  <a:schemeClr val="accent1"/>
                </a:solidFill>
                <a:latin typeface="CocogooseProNarrow Darkmode" panose="00000400000000000000" pitchFamily="2" charset="0"/>
                <a:ea typeface="+mj-ea"/>
                <a:cs typeface="+mj-cs"/>
              </a:defRPr>
            </a:lvl1pPr>
          </a:lstStyle>
          <a:p>
            <a:r>
              <a:rPr lang="fr-FR" sz="2800"/>
              <a:t>Calendrier du projet</a:t>
            </a:r>
            <a:endParaRPr lang="fr-FR" b="0">
              <a:solidFill>
                <a:srgbClr val="283246"/>
              </a:solidFill>
              <a:latin typeface="CocogooseProNarrow Light" pitchFamily="2" charset="0"/>
            </a:endParaRPr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65AC0FD9-8642-9BEC-B111-038405B30F6E}"/>
              </a:ext>
            </a:extLst>
          </p:cNvPr>
          <p:cNvCxnSpPr>
            <a:cxnSpLocks/>
          </p:cNvCxnSpPr>
          <p:nvPr/>
        </p:nvCxnSpPr>
        <p:spPr>
          <a:xfrm>
            <a:off x="10450935" y="554859"/>
            <a:ext cx="0" cy="3708000"/>
          </a:xfrm>
          <a:prstGeom prst="line">
            <a:avLst/>
          </a:prstGeom>
          <a:ln w="12700">
            <a:solidFill>
              <a:srgbClr val="F2F2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40">
            <a:extLst>
              <a:ext uri="{FF2B5EF4-FFF2-40B4-BE49-F238E27FC236}">
                <a16:creationId xmlns:a16="http://schemas.microsoft.com/office/drawing/2014/main" id="{09E865C6-0807-0EEA-16DC-4D916BB5F7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52069" y="1653114"/>
            <a:ext cx="435395" cy="317165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wrap="none" lIns="36000" tIns="36000" rIns="36000" bIns="36000" anchorCtr="1">
            <a:noAutofit/>
          </a:bodyPr>
          <a:lstStyle/>
          <a:p>
            <a:pPr algn="ctr" eaLnBrk="0" hangingPunct="0"/>
            <a:r>
              <a:rPr lang="fr-FR" sz="1100" i="1" noProof="0">
                <a:solidFill>
                  <a:schemeClr val="accent1"/>
                </a:solidFill>
                <a:latin typeface="Century Gothic"/>
                <a:cs typeface="Century Gothic"/>
              </a:rPr>
              <a:t>Oct.</a:t>
            </a:r>
          </a:p>
        </p:txBody>
      </p:sp>
      <p:sp>
        <p:nvSpPr>
          <p:cNvPr id="8" name="Rectangle 24">
            <a:extLst>
              <a:ext uri="{FF2B5EF4-FFF2-40B4-BE49-F238E27FC236}">
                <a16:creationId xmlns:a16="http://schemas.microsoft.com/office/drawing/2014/main" id="{B47B4456-9DAF-5389-A822-1F7AB219AD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8900" y="1653114"/>
            <a:ext cx="436203" cy="315322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txBody>
          <a:bodyPr wrap="none" lIns="36000" tIns="36000" rIns="36000" bIns="36000" anchorCtr="1">
            <a:noAutofit/>
          </a:bodyPr>
          <a:lstStyle/>
          <a:p>
            <a:pPr algn="ctr" eaLnBrk="0" hangingPunct="0"/>
            <a:r>
              <a:rPr lang="fr-FR" sz="1100" i="1" noProof="0">
                <a:solidFill>
                  <a:schemeClr val="accent1"/>
                </a:solidFill>
                <a:latin typeface="Century Gothic"/>
                <a:cs typeface="Century Gothic"/>
              </a:rPr>
              <a:t>Nov.</a:t>
            </a:r>
          </a:p>
        </p:txBody>
      </p:sp>
      <p:sp>
        <p:nvSpPr>
          <p:cNvPr id="9" name="Rectangle 24">
            <a:extLst>
              <a:ext uri="{FF2B5EF4-FFF2-40B4-BE49-F238E27FC236}">
                <a16:creationId xmlns:a16="http://schemas.microsoft.com/office/drawing/2014/main" id="{BC89C1F6-B159-140C-1D91-070172A691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12616" y="1653114"/>
            <a:ext cx="436203" cy="315322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txBody>
          <a:bodyPr wrap="none" lIns="36000" tIns="36000" rIns="36000" bIns="36000" anchorCtr="1"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100" i="1" noProof="0">
                <a:solidFill>
                  <a:schemeClr val="accent1"/>
                </a:solidFill>
                <a:latin typeface="Century Gothic"/>
                <a:cs typeface="Century Gothic"/>
              </a:rPr>
              <a:t>Jan.</a:t>
            </a:r>
          </a:p>
        </p:txBody>
      </p:sp>
      <p:sp>
        <p:nvSpPr>
          <p:cNvPr id="10" name="Rectangle 40">
            <a:extLst>
              <a:ext uri="{FF2B5EF4-FFF2-40B4-BE49-F238E27FC236}">
                <a16:creationId xmlns:a16="http://schemas.microsoft.com/office/drawing/2014/main" id="{E2BDC3B7-30D7-B796-389B-22D06F7C15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0758" y="1653114"/>
            <a:ext cx="436203" cy="315322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wrap="none" lIns="36000" tIns="36000" rIns="36000" bIns="36000" anchorCtr="1">
            <a:noAutofit/>
          </a:bodyPr>
          <a:lstStyle/>
          <a:p>
            <a:pPr algn="ctr" eaLnBrk="0" hangingPunct="0"/>
            <a:r>
              <a:rPr lang="fr-FR" sz="1100" i="1" noProof="0">
                <a:solidFill>
                  <a:schemeClr val="accent1"/>
                </a:solidFill>
                <a:latin typeface="Century Gothic"/>
                <a:cs typeface="Century Gothic"/>
              </a:rPr>
              <a:t>Déc..</a:t>
            </a:r>
          </a:p>
        </p:txBody>
      </p:sp>
      <p:sp>
        <p:nvSpPr>
          <p:cNvPr id="11" name="Rectangle 24">
            <a:extLst>
              <a:ext uri="{FF2B5EF4-FFF2-40B4-BE49-F238E27FC236}">
                <a16:creationId xmlns:a16="http://schemas.microsoft.com/office/drawing/2014/main" id="{BD552B7E-9B52-486D-9225-5D76494B93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56332" y="1653114"/>
            <a:ext cx="436574" cy="315322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txBody>
          <a:bodyPr wrap="none" lIns="36000" tIns="36000" rIns="36000" bIns="36000" anchorCtr="1">
            <a:noAutofit/>
          </a:bodyPr>
          <a:lstStyle/>
          <a:p>
            <a:pPr algn="ctr" eaLnBrk="0" hangingPunct="0"/>
            <a:r>
              <a:rPr lang="fr-FR" sz="1100" i="1" noProof="0">
                <a:solidFill>
                  <a:schemeClr val="accent1"/>
                </a:solidFill>
                <a:latin typeface="Century Gothic"/>
                <a:cs typeface="Century Gothic"/>
              </a:rPr>
              <a:t>Mars</a:t>
            </a:r>
          </a:p>
        </p:txBody>
      </p:sp>
      <p:sp>
        <p:nvSpPr>
          <p:cNvPr id="12" name="Rectangle 40">
            <a:extLst>
              <a:ext uri="{FF2B5EF4-FFF2-40B4-BE49-F238E27FC236}">
                <a16:creationId xmlns:a16="http://schemas.microsoft.com/office/drawing/2014/main" id="{5DBCBDB9-58C6-D3F2-C350-3D71429110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84474" y="1653114"/>
            <a:ext cx="436203" cy="315322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wrap="none" lIns="36000" tIns="36000" rIns="36000" bIns="36000" anchorCtr="1">
            <a:noAutofit/>
          </a:bodyPr>
          <a:lstStyle/>
          <a:p>
            <a:pPr algn="ctr" eaLnBrk="0" hangingPunct="0"/>
            <a:r>
              <a:rPr lang="fr-FR" sz="1100" i="1" noProof="0">
                <a:solidFill>
                  <a:schemeClr val="accent1"/>
                </a:solidFill>
                <a:latin typeface="Century Gothic"/>
                <a:cs typeface="Century Gothic"/>
              </a:rPr>
              <a:t>Fév..</a:t>
            </a:r>
          </a:p>
        </p:txBody>
      </p:sp>
      <p:sp>
        <p:nvSpPr>
          <p:cNvPr id="13" name="Rectangle 24">
            <a:extLst>
              <a:ext uri="{FF2B5EF4-FFF2-40B4-BE49-F238E27FC236}">
                <a16:creationId xmlns:a16="http://schemas.microsoft.com/office/drawing/2014/main" id="{F1C86099-51B4-20E4-F567-07DFE613FD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0790" y="1653114"/>
            <a:ext cx="434071" cy="315322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txBody>
          <a:bodyPr wrap="none" lIns="36000" tIns="36000" rIns="36000" bIns="36000" anchorCtr="1"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100" i="1" noProof="0">
                <a:solidFill>
                  <a:schemeClr val="accent1"/>
                </a:solidFill>
                <a:latin typeface="Century Gothic"/>
                <a:cs typeface="Century Gothic"/>
              </a:rPr>
              <a:t>Mai</a:t>
            </a:r>
          </a:p>
        </p:txBody>
      </p:sp>
      <p:sp>
        <p:nvSpPr>
          <p:cNvPr id="14" name="Rectangle 40">
            <a:extLst>
              <a:ext uri="{FF2B5EF4-FFF2-40B4-BE49-F238E27FC236}">
                <a16:creationId xmlns:a16="http://schemas.microsoft.com/office/drawing/2014/main" id="{7230BB92-F58A-2DFE-B751-6A3987D83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8561" y="1653114"/>
            <a:ext cx="436574" cy="315322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wrap="none" lIns="36000" tIns="36000" rIns="36000" bIns="36000" anchorCtr="1">
            <a:noAutofit/>
          </a:bodyPr>
          <a:lstStyle/>
          <a:p>
            <a:pPr algn="ctr" eaLnBrk="0" hangingPunct="0"/>
            <a:r>
              <a:rPr lang="fr-FR" sz="1100" i="1" noProof="0">
                <a:solidFill>
                  <a:schemeClr val="accent1"/>
                </a:solidFill>
                <a:latin typeface="Century Gothic"/>
                <a:cs typeface="Century Gothic"/>
              </a:rPr>
              <a:t>Avril</a:t>
            </a:r>
          </a:p>
        </p:txBody>
      </p:sp>
      <p:sp>
        <p:nvSpPr>
          <p:cNvPr id="15" name="Rectangle 24">
            <a:extLst>
              <a:ext uri="{FF2B5EF4-FFF2-40B4-BE49-F238E27FC236}">
                <a16:creationId xmlns:a16="http://schemas.microsoft.com/office/drawing/2014/main" id="{846B9D0E-6FAE-BF63-01D4-5D5BDF37F1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40242" y="1653114"/>
            <a:ext cx="435395" cy="315322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txBody>
          <a:bodyPr wrap="none" lIns="36000" tIns="36000" rIns="36000" bIns="36000" anchorCtr="1">
            <a:noAutofit/>
          </a:bodyPr>
          <a:lstStyle/>
          <a:p>
            <a:pPr algn="ctr" eaLnBrk="0" hangingPunct="0"/>
            <a:r>
              <a:rPr lang="fr-FR" sz="1100" i="1" noProof="0">
                <a:solidFill>
                  <a:schemeClr val="accent1"/>
                </a:solidFill>
                <a:latin typeface="Century Gothic"/>
                <a:cs typeface="Century Gothic"/>
              </a:rPr>
              <a:t>Juil.</a:t>
            </a:r>
          </a:p>
        </p:txBody>
      </p:sp>
      <p:sp>
        <p:nvSpPr>
          <p:cNvPr id="16" name="Rectangle 40">
            <a:extLst>
              <a:ext uri="{FF2B5EF4-FFF2-40B4-BE49-F238E27FC236}">
                <a16:creationId xmlns:a16="http://schemas.microsoft.com/office/drawing/2014/main" id="{8A067DD4-7AE8-6FD2-B170-7B4BA0C31E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70516" y="1653114"/>
            <a:ext cx="434071" cy="315322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wrap="none" lIns="36000" tIns="36000" rIns="36000" bIns="36000" anchorCtr="1">
            <a:noAutofit/>
          </a:bodyPr>
          <a:lstStyle/>
          <a:p>
            <a:pPr algn="ctr" eaLnBrk="0" hangingPunct="0"/>
            <a:r>
              <a:rPr lang="fr-FR" sz="1100" i="1" noProof="0">
                <a:solidFill>
                  <a:schemeClr val="accent1"/>
                </a:solidFill>
                <a:latin typeface="Century Gothic"/>
                <a:cs typeface="Century Gothic"/>
              </a:rPr>
              <a:t>Juin</a:t>
            </a:r>
          </a:p>
        </p:txBody>
      </p:sp>
      <p:sp>
        <p:nvSpPr>
          <p:cNvPr id="17" name="Rectangle 40">
            <a:extLst>
              <a:ext uri="{FF2B5EF4-FFF2-40B4-BE49-F238E27FC236}">
                <a16:creationId xmlns:a16="http://schemas.microsoft.com/office/drawing/2014/main" id="{9D8E89C2-81BD-2542-FFA2-3216E87762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1292" y="1653114"/>
            <a:ext cx="434071" cy="315322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wrap="none" lIns="36000" tIns="36000" rIns="36000" bIns="36000" anchorCtr="1">
            <a:noAutofit/>
          </a:bodyPr>
          <a:lstStyle/>
          <a:p>
            <a:pPr algn="ctr" eaLnBrk="0" hangingPunct="0"/>
            <a:r>
              <a:rPr lang="fr-FR" sz="1100" i="1" noProof="0">
                <a:solidFill>
                  <a:schemeClr val="accent1"/>
                </a:solidFill>
                <a:latin typeface="Century Gothic"/>
                <a:cs typeface="Century Gothic"/>
              </a:rPr>
              <a:t>Aout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9496E49-8CE4-267C-423B-31AF9F193418}"/>
              </a:ext>
            </a:extLst>
          </p:cNvPr>
          <p:cNvSpPr txBox="1"/>
          <p:nvPr/>
        </p:nvSpPr>
        <p:spPr>
          <a:xfrm>
            <a:off x="445510" y="1806132"/>
            <a:ext cx="2842854" cy="903160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algn="ctr" eaLnBrk="0" hangingPunct="0">
              <a:spcAft>
                <a:spcPts val="600"/>
              </a:spcAft>
              <a:buClr>
                <a:schemeClr val="accent3"/>
              </a:buClr>
              <a:defRPr sz="1400" b="1">
                <a:solidFill>
                  <a:schemeClr val="bg1"/>
                </a:solidFill>
                <a:ea typeface="Century Gothic"/>
                <a:cs typeface="Century Gothic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algn="r"/>
            <a:endParaRPr lang="fr-FR" sz="1400" noProof="0">
              <a:solidFill>
                <a:schemeClr val="accent6"/>
              </a:solidFill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061978E1-D786-95A5-3991-0210AF84DA97}"/>
              </a:ext>
            </a:extLst>
          </p:cNvPr>
          <p:cNvSpPr txBox="1"/>
          <p:nvPr/>
        </p:nvSpPr>
        <p:spPr>
          <a:xfrm>
            <a:off x="445509" y="2822199"/>
            <a:ext cx="2842854" cy="925229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algn="ctr" eaLnBrk="0" hangingPunct="0">
              <a:spcAft>
                <a:spcPts val="600"/>
              </a:spcAft>
              <a:buClr>
                <a:schemeClr val="accent3"/>
              </a:buClr>
              <a:defRPr sz="1400" b="1">
                <a:solidFill>
                  <a:schemeClr val="bg1"/>
                </a:solidFill>
                <a:ea typeface="Century Gothic"/>
                <a:cs typeface="Century Gothic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algn="r"/>
            <a:endParaRPr lang="fr-FR" sz="1400" noProof="0">
              <a:solidFill>
                <a:schemeClr val="accent3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AD1D1698-DA57-4039-9320-1241CC2926F3}"/>
              </a:ext>
            </a:extLst>
          </p:cNvPr>
          <p:cNvSpPr txBox="1"/>
          <p:nvPr/>
        </p:nvSpPr>
        <p:spPr>
          <a:xfrm>
            <a:off x="431175" y="3860334"/>
            <a:ext cx="2842854" cy="884844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1588" algn="ctr" eaLnBrk="0" hangingPunct="0">
              <a:spcAft>
                <a:spcPts val="200"/>
              </a:spcAft>
              <a:buClr>
                <a:schemeClr val="accent3"/>
              </a:buClr>
              <a:defRPr sz="14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algn="r"/>
            <a:r>
              <a:rPr lang="fr-FR" sz="1200" b="0" noProof="0">
                <a:solidFill>
                  <a:schemeClr val="accent5"/>
                </a:solidFill>
              </a:rPr>
              <a:t>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ABFBB4B-D403-3F22-67C9-17990CCC619D}"/>
              </a:ext>
            </a:extLst>
          </p:cNvPr>
          <p:cNvSpPr/>
          <p:nvPr/>
        </p:nvSpPr>
        <p:spPr>
          <a:xfrm>
            <a:off x="445508" y="3044092"/>
            <a:ext cx="468053" cy="259821"/>
          </a:xfrm>
          <a:prstGeom prst="rect">
            <a:avLst/>
          </a:prstGeom>
          <a:solidFill>
            <a:schemeClr val="accent3"/>
          </a:solidFill>
          <a:ln w="28575" cmpd="sng"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554B"/>
              </a:buClr>
              <a:buSzTx/>
              <a:buFontTx/>
              <a:buNone/>
              <a:tabLst/>
              <a:defRPr/>
            </a:pPr>
            <a:r>
              <a:rPr lang="fr-FR" sz="1400" b="1" noProof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Century Gothic"/>
              </a:rPr>
              <a:t>2</a:t>
            </a:r>
            <a:endParaRPr kumimoji="0" lang="fr-FR" sz="14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Century Gothic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F60A50E-5057-53DA-8124-2FDE40205DAD}"/>
              </a:ext>
            </a:extLst>
          </p:cNvPr>
          <p:cNvSpPr/>
          <p:nvPr/>
        </p:nvSpPr>
        <p:spPr>
          <a:xfrm>
            <a:off x="445508" y="2033577"/>
            <a:ext cx="468053" cy="259821"/>
          </a:xfrm>
          <a:prstGeom prst="rect">
            <a:avLst/>
          </a:prstGeom>
          <a:solidFill>
            <a:schemeClr val="accent6"/>
          </a:solidFill>
          <a:ln w="28575" cmpd="sng"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554B"/>
              </a:buClr>
              <a:buSzTx/>
              <a:buFontTx/>
              <a:buNone/>
              <a:tabLst/>
              <a:defRPr/>
            </a:pPr>
            <a:r>
              <a:rPr lang="fr-FR" sz="1400" b="1" noProof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Century Gothic"/>
              </a:rPr>
              <a:t>1</a:t>
            </a:r>
            <a:endParaRPr kumimoji="0" lang="fr-FR" sz="14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Century Gothic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E2FDC89-AB42-4082-3761-46B7CE8501BC}"/>
              </a:ext>
            </a:extLst>
          </p:cNvPr>
          <p:cNvSpPr/>
          <p:nvPr/>
        </p:nvSpPr>
        <p:spPr>
          <a:xfrm>
            <a:off x="431174" y="4083681"/>
            <a:ext cx="468053" cy="259821"/>
          </a:xfrm>
          <a:prstGeom prst="rect">
            <a:avLst/>
          </a:prstGeom>
          <a:solidFill>
            <a:schemeClr val="accent5"/>
          </a:solidFill>
          <a:ln w="28575" cmpd="sng"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554B"/>
              </a:buClr>
              <a:buSzTx/>
              <a:buFontTx/>
              <a:buNone/>
              <a:tabLst/>
              <a:defRPr/>
            </a:pPr>
            <a:r>
              <a:rPr lang="fr-FR" sz="1400" b="1" noProof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Century Gothic"/>
              </a:rPr>
              <a:t>3</a:t>
            </a:r>
            <a:endParaRPr kumimoji="0" lang="fr-FR" sz="14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Century Gothic"/>
            </a:endParaRP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BF88BED3-89DD-5CA3-9F2A-32DA7512DCE7}"/>
              </a:ext>
            </a:extLst>
          </p:cNvPr>
          <p:cNvSpPr txBox="1"/>
          <p:nvPr/>
        </p:nvSpPr>
        <p:spPr>
          <a:xfrm>
            <a:off x="922965" y="2822200"/>
            <a:ext cx="2351063" cy="925227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algn="ctr" eaLnBrk="0" hangingPunct="0">
              <a:spcAft>
                <a:spcPts val="600"/>
              </a:spcAft>
              <a:buClr>
                <a:schemeClr val="accent3"/>
              </a:buClr>
              <a:defRPr sz="1400" b="1">
                <a:solidFill>
                  <a:schemeClr val="bg1"/>
                </a:solidFill>
                <a:ea typeface="Century Gothic"/>
                <a:cs typeface="Century Gothic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algn="l"/>
            <a:r>
              <a:rPr lang="fr-FR" sz="1400" noProof="0">
                <a:solidFill>
                  <a:schemeClr val="accent3"/>
                </a:solidFill>
              </a:rPr>
              <a:t>Un outil de bilan carbone</a:t>
            </a:r>
            <a:r>
              <a:rPr lang="fr-FR" noProof="0">
                <a:solidFill>
                  <a:schemeClr val="accent3"/>
                </a:solidFill>
              </a:rPr>
              <a:t> </a:t>
            </a:r>
            <a:r>
              <a:rPr lang="fr-FR" sz="1400" noProof="0">
                <a:solidFill>
                  <a:schemeClr val="accent3"/>
                </a:solidFill>
              </a:rPr>
              <a:t>simple et facilement déployabl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50C968B-F6CC-548D-F04D-C38E1739BC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1018" y="1653114"/>
            <a:ext cx="435395" cy="315322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txBody>
          <a:bodyPr wrap="none" lIns="36000" tIns="36000" rIns="36000" bIns="36000" anchorCtr="1">
            <a:noAutofit/>
          </a:bodyPr>
          <a:lstStyle/>
          <a:p>
            <a:pPr algn="ctr" eaLnBrk="0" hangingPunct="0"/>
            <a:r>
              <a:rPr lang="fr-FR" sz="1100" i="1" noProof="0">
                <a:solidFill>
                  <a:schemeClr val="accent1"/>
                </a:solidFill>
                <a:latin typeface="Century Gothic"/>
                <a:cs typeface="Century Gothic"/>
              </a:rPr>
              <a:t>Sept.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F99D88B8-C4D7-AE42-A640-19DC449BBF30}"/>
              </a:ext>
            </a:extLst>
          </p:cNvPr>
          <p:cNvSpPr txBox="1"/>
          <p:nvPr/>
        </p:nvSpPr>
        <p:spPr>
          <a:xfrm>
            <a:off x="947997" y="1823505"/>
            <a:ext cx="2336835" cy="866321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algn="ctr" eaLnBrk="0" hangingPunct="0">
              <a:spcAft>
                <a:spcPts val="600"/>
              </a:spcAft>
              <a:buClr>
                <a:schemeClr val="accent3"/>
              </a:buClr>
              <a:defRPr sz="1400" b="1">
                <a:solidFill>
                  <a:schemeClr val="bg1"/>
                </a:solidFill>
                <a:ea typeface="Century Gothic"/>
                <a:cs typeface="Century Gothic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algn="l"/>
            <a:r>
              <a:rPr lang="fr-FR" sz="1400" noProof="0">
                <a:solidFill>
                  <a:schemeClr val="accent6"/>
                </a:solidFill>
              </a:rPr>
              <a:t>Une empreinte carbone moyenne d’une séance de kiné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673E877E-5D85-9392-3EBF-38E39B2BE540}"/>
              </a:ext>
            </a:extLst>
          </p:cNvPr>
          <p:cNvSpPr txBox="1"/>
          <p:nvPr/>
        </p:nvSpPr>
        <p:spPr>
          <a:xfrm>
            <a:off x="899227" y="3878910"/>
            <a:ext cx="2368765" cy="866268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1588" algn="ctr" eaLnBrk="0" hangingPunct="0">
              <a:spcAft>
                <a:spcPts val="200"/>
              </a:spcAft>
              <a:buClr>
                <a:schemeClr val="accent3"/>
              </a:buClr>
              <a:defRPr sz="14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algn="l"/>
            <a:r>
              <a:rPr lang="fr-FR" sz="1400" noProof="0">
                <a:solidFill>
                  <a:schemeClr val="accent5"/>
                </a:solidFill>
              </a:rPr>
              <a:t>Une étude de référence</a:t>
            </a:r>
          </a:p>
          <a:p>
            <a:pPr algn="l"/>
            <a:r>
              <a:rPr lang="fr-FR" sz="1200" b="0" noProof="0">
                <a:solidFill>
                  <a:schemeClr val="accent5"/>
                </a:solidFill>
              </a:rPr>
              <a:t> </a:t>
            </a:r>
          </a:p>
        </p:txBody>
      </p:sp>
      <p:sp>
        <p:nvSpPr>
          <p:cNvPr id="28" name="Chevron 21">
            <a:extLst>
              <a:ext uri="{FF2B5EF4-FFF2-40B4-BE49-F238E27FC236}">
                <a16:creationId xmlns:a16="http://schemas.microsoft.com/office/drawing/2014/main" id="{82E0D482-2A11-7C1D-9703-900CB68D4280}"/>
              </a:ext>
            </a:extLst>
          </p:cNvPr>
          <p:cNvSpPr/>
          <p:nvPr/>
        </p:nvSpPr>
        <p:spPr>
          <a:xfrm>
            <a:off x="3483806" y="2021083"/>
            <a:ext cx="5682343" cy="576000"/>
          </a:xfrm>
          <a:prstGeom prst="chevron">
            <a:avLst>
              <a:gd name="adj" fmla="val 17473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0488" algn="ctr" eaLnBrk="0" hangingPunct="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fr-FR" sz="1100" noProof="0">
                <a:solidFill>
                  <a:schemeClr val="bg1"/>
                </a:solidFill>
              </a:rPr>
              <a:t>Développement méthodologique et web, déploiement sur 5 puis sur 106 kinés</a:t>
            </a:r>
          </a:p>
        </p:txBody>
      </p: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14990F12-5BFD-85D6-793E-FBAA3B66D6F0}"/>
              </a:ext>
            </a:extLst>
          </p:cNvPr>
          <p:cNvCxnSpPr>
            <a:cxnSpLocks/>
          </p:cNvCxnSpPr>
          <p:nvPr/>
        </p:nvCxnSpPr>
        <p:spPr>
          <a:xfrm>
            <a:off x="547153" y="4815553"/>
            <a:ext cx="11644847" cy="0"/>
          </a:xfrm>
          <a:prstGeom prst="line">
            <a:avLst/>
          </a:prstGeom>
          <a:ln w="9525" cmpd="sng">
            <a:solidFill>
              <a:schemeClr val="bg1">
                <a:lumMod val="9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Rectangle 24">
            <a:extLst>
              <a:ext uri="{FF2B5EF4-FFF2-40B4-BE49-F238E27FC236}">
                <a16:creationId xmlns:a16="http://schemas.microsoft.com/office/drawing/2014/main" id="{F6C97A86-106E-2AA3-AA3F-FBF2EBA79C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21795" y="1653114"/>
            <a:ext cx="435395" cy="315322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txBody>
          <a:bodyPr wrap="none" lIns="36000" tIns="36000" rIns="36000" bIns="36000" anchorCtr="1">
            <a:noAutofit/>
          </a:bodyPr>
          <a:lstStyle/>
          <a:p>
            <a:pPr algn="ctr" eaLnBrk="0" hangingPunct="0"/>
            <a:r>
              <a:rPr lang="fr-FR" sz="1100" i="1" noProof="0">
                <a:solidFill>
                  <a:schemeClr val="accent1"/>
                </a:solidFill>
                <a:latin typeface="Century Gothic"/>
                <a:cs typeface="Century Gothic"/>
              </a:rPr>
              <a:t>Nov.</a:t>
            </a:r>
          </a:p>
        </p:txBody>
      </p:sp>
      <p:sp>
        <p:nvSpPr>
          <p:cNvPr id="31" name="Rectangle 40">
            <a:extLst>
              <a:ext uri="{FF2B5EF4-FFF2-40B4-BE49-F238E27FC236}">
                <a16:creationId xmlns:a16="http://schemas.microsoft.com/office/drawing/2014/main" id="{5642AC03-5F49-EDAF-F38A-3CC36F61F0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91230" y="1653113"/>
            <a:ext cx="435395" cy="317165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wrap="none" lIns="36000" tIns="36000" rIns="36000" bIns="36000" anchorCtr="1">
            <a:noAutofit/>
          </a:bodyPr>
          <a:lstStyle/>
          <a:p>
            <a:pPr algn="ctr" eaLnBrk="0" hangingPunct="0"/>
            <a:r>
              <a:rPr lang="fr-FR" sz="1100" i="1" noProof="0">
                <a:solidFill>
                  <a:schemeClr val="accent1"/>
                </a:solidFill>
                <a:latin typeface="Century Gothic"/>
                <a:cs typeface="Century Gothic"/>
              </a:rPr>
              <a:t>Déc..</a:t>
            </a:r>
          </a:p>
        </p:txBody>
      </p:sp>
      <p:sp>
        <p:nvSpPr>
          <p:cNvPr id="32" name="Chevron 21">
            <a:extLst>
              <a:ext uri="{FF2B5EF4-FFF2-40B4-BE49-F238E27FC236}">
                <a16:creationId xmlns:a16="http://schemas.microsoft.com/office/drawing/2014/main" id="{99B318FB-EF8F-15F1-C0B9-C11CE05359BE}"/>
              </a:ext>
            </a:extLst>
          </p:cNvPr>
          <p:cNvSpPr/>
          <p:nvPr/>
        </p:nvSpPr>
        <p:spPr>
          <a:xfrm>
            <a:off x="8239991" y="3064218"/>
            <a:ext cx="2427030" cy="576000"/>
          </a:xfrm>
          <a:prstGeom prst="chevron">
            <a:avLst>
              <a:gd name="adj" fmla="val 17473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0488" algn="ctr" eaLnBrk="0" hangingPunct="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fr-FR" sz="1100" noProof="0">
                <a:solidFill>
                  <a:schemeClr val="bg1"/>
                </a:solidFill>
              </a:rPr>
              <a:t>Développement formulaire simplifié, tableau de bord et actions</a:t>
            </a:r>
          </a:p>
        </p:txBody>
      </p:sp>
      <p:sp>
        <p:nvSpPr>
          <p:cNvPr id="33" name="Chevron 21">
            <a:extLst>
              <a:ext uri="{FF2B5EF4-FFF2-40B4-BE49-F238E27FC236}">
                <a16:creationId xmlns:a16="http://schemas.microsoft.com/office/drawing/2014/main" id="{1BFBFC8E-A799-3F9A-1F45-BAC3C55AF3D8}"/>
              </a:ext>
            </a:extLst>
          </p:cNvPr>
          <p:cNvSpPr/>
          <p:nvPr/>
        </p:nvSpPr>
        <p:spPr>
          <a:xfrm>
            <a:off x="6680842" y="4065702"/>
            <a:ext cx="3986178" cy="576000"/>
          </a:xfrm>
          <a:prstGeom prst="chevron">
            <a:avLst>
              <a:gd name="adj" fmla="val 17473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0488" algn="ctr" eaLnBrk="0" hangingPunct="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fr-FR" sz="1100" noProof="0">
                <a:solidFill>
                  <a:schemeClr val="bg1"/>
                </a:solidFill>
              </a:rPr>
              <a:t>Rédaction du guide méthodologique</a:t>
            </a:r>
          </a:p>
        </p:txBody>
      </p: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207E8FFE-F2F3-2A2E-D111-33634F48E9E1}"/>
              </a:ext>
            </a:extLst>
          </p:cNvPr>
          <p:cNvCxnSpPr>
            <a:cxnSpLocks/>
          </p:cNvCxnSpPr>
          <p:nvPr/>
        </p:nvCxnSpPr>
        <p:spPr>
          <a:xfrm>
            <a:off x="547153" y="2736382"/>
            <a:ext cx="11644847" cy="0"/>
          </a:xfrm>
          <a:prstGeom prst="line">
            <a:avLst/>
          </a:prstGeom>
          <a:ln w="9525" cmpd="sng">
            <a:solidFill>
              <a:schemeClr val="bg1">
                <a:lumMod val="9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600EB56D-FBCB-6D1C-6B6E-00779D2119D9}"/>
              </a:ext>
            </a:extLst>
          </p:cNvPr>
          <p:cNvCxnSpPr>
            <a:cxnSpLocks/>
          </p:cNvCxnSpPr>
          <p:nvPr/>
        </p:nvCxnSpPr>
        <p:spPr>
          <a:xfrm>
            <a:off x="463832" y="3770525"/>
            <a:ext cx="11644847" cy="0"/>
          </a:xfrm>
          <a:prstGeom prst="line">
            <a:avLst/>
          </a:prstGeom>
          <a:ln w="9525" cmpd="sng">
            <a:solidFill>
              <a:schemeClr val="bg1">
                <a:lumMod val="9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35">
            <a:extLst>
              <a:ext uri="{FF2B5EF4-FFF2-40B4-BE49-F238E27FC236}">
                <a16:creationId xmlns:a16="http://schemas.microsoft.com/office/drawing/2014/main" id="{B644766A-0D49-646B-8E73-F3241CDCAD84}"/>
              </a:ext>
            </a:extLst>
          </p:cNvPr>
          <p:cNvCxnSpPr>
            <a:cxnSpLocks/>
          </p:cNvCxnSpPr>
          <p:nvPr/>
        </p:nvCxnSpPr>
        <p:spPr>
          <a:xfrm>
            <a:off x="11098873" y="1943100"/>
            <a:ext cx="0" cy="3345873"/>
          </a:xfrm>
          <a:prstGeom prst="line">
            <a:avLst/>
          </a:prstGeom>
          <a:ln w="25400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ZoneTexte 36">
            <a:extLst>
              <a:ext uri="{FF2B5EF4-FFF2-40B4-BE49-F238E27FC236}">
                <a16:creationId xmlns:a16="http://schemas.microsoft.com/office/drawing/2014/main" id="{7454958C-7DDF-06D2-871E-E645DCFCDD14}"/>
              </a:ext>
            </a:extLst>
          </p:cNvPr>
          <p:cNvSpPr txBox="1"/>
          <p:nvPr/>
        </p:nvSpPr>
        <p:spPr>
          <a:xfrm>
            <a:off x="10667020" y="3320033"/>
            <a:ext cx="845399" cy="2643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fr-FR" sz="900" noProof="0">
                <a:cs typeface="Century Gothic"/>
              </a:rPr>
              <a:t>Ouverture aux  MKDE</a:t>
            </a:r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019F4958-00EA-F796-8FD7-E2BA4B09AB64}"/>
              </a:ext>
            </a:extLst>
          </p:cNvPr>
          <p:cNvSpPr>
            <a:spLocks/>
          </p:cNvSpPr>
          <p:nvPr/>
        </p:nvSpPr>
        <p:spPr>
          <a:xfrm>
            <a:off x="11012319" y="3121644"/>
            <a:ext cx="154800" cy="153950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</a:pPr>
            <a:endParaRPr lang="fr-FR" sz="1100" noProof="0">
              <a:solidFill>
                <a:schemeClr val="tx1"/>
              </a:solidFill>
            </a:endParaRP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AB20AEED-936D-4182-7806-3D2AEB6A521C}"/>
              </a:ext>
            </a:extLst>
          </p:cNvPr>
          <p:cNvSpPr txBox="1"/>
          <p:nvPr/>
        </p:nvSpPr>
        <p:spPr>
          <a:xfrm>
            <a:off x="10035659" y="5101512"/>
            <a:ext cx="101470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fr-FR" sz="1400" b="1">
                <a:solidFill>
                  <a:schemeClr val="accent4"/>
                </a:solidFill>
              </a:rPr>
              <a:t>Aujourd’hui</a:t>
            </a:r>
          </a:p>
        </p:txBody>
      </p:sp>
    </p:spTree>
    <p:extLst>
      <p:ext uri="{BB962C8B-B14F-4D97-AF65-F5344CB8AC3E}">
        <p14:creationId xmlns:p14="http://schemas.microsoft.com/office/powerpoint/2010/main" val="41518470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F5F757-D359-FD07-BB22-E90A1DE9A3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A14E5A11-FF6F-0B10-17ED-C0E7A01D9F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>
                <a:latin typeface="CocogooseProNarrow Darkmode" pitchFamily="2" charset="0"/>
              </a:rPr>
              <a:t>Sommaire</a:t>
            </a:r>
          </a:p>
        </p:txBody>
      </p:sp>
      <p:sp>
        <p:nvSpPr>
          <p:cNvPr id="9" name="Menu1">
            <a:extLst>
              <a:ext uri="{FF2B5EF4-FFF2-40B4-BE49-F238E27FC236}">
                <a16:creationId xmlns:a16="http://schemas.microsoft.com/office/drawing/2014/main" id="{F4353170-F260-009A-F698-273198EF25D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88075" y="2388212"/>
            <a:ext cx="5464175" cy="482309"/>
          </a:xfr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fr-FR">
                <a:solidFill>
                  <a:schemeClr val="accent1">
                    <a:lumMod val="40000"/>
                    <a:lumOff val="60000"/>
                  </a:schemeClr>
                </a:solidFill>
              </a:rPr>
              <a:t>1.	 Présentation du travail réalisé</a:t>
            </a:r>
          </a:p>
        </p:txBody>
      </p:sp>
      <p:sp>
        <p:nvSpPr>
          <p:cNvPr id="10" name="Menu2">
            <a:extLst>
              <a:ext uri="{FF2B5EF4-FFF2-40B4-BE49-F238E27FC236}">
                <a16:creationId xmlns:a16="http://schemas.microsoft.com/office/drawing/2014/main" id="{4ECA1E94-C5FB-AFB6-8DEB-2196863E543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8075" y="2969571"/>
            <a:ext cx="5464175" cy="482309"/>
          </a:xfr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fr-FR"/>
              <a:t>2.	 Principaux résultats de l’étude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6C7B9C50-ACA1-AB79-D4D9-B7026A69397F}"/>
              </a:ext>
            </a:extLst>
          </p:cNvPr>
          <p:cNvCxnSpPr>
            <a:cxnSpLocks/>
          </p:cNvCxnSpPr>
          <p:nvPr/>
        </p:nvCxnSpPr>
        <p:spPr>
          <a:xfrm>
            <a:off x="6188075" y="2920046"/>
            <a:ext cx="546417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11AE3757-6449-4360-7189-1824C0FC6FE6}"/>
              </a:ext>
            </a:extLst>
          </p:cNvPr>
          <p:cNvCxnSpPr>
            <a:cxnSpLocks/>
          </p:cNvCxnSpPr>
          <p:nvPr/>
        </p:nvCxnSpPr>
        <p:spPr>
          <a:xfrm>
            <a:off x="6188075" y="3501405"/>
            <a:ext cx="546417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283A8585-0A06-AB97-FF66-E111FDE5BD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B5A6716-DBF2-AF4C-9665-1BA53E8D7A19}" type="slidenum">
              <a:rPr lang="fr-FR" smtClean="0">
                <a:latin typeface="CocogooseProNarrow Light" pitchFamily="2" charset="0"/>
              </a:rPr>
              <a:pPr/>
              <a:t>8</a:t>
            </a:fld>
            <a:endParaRPr lang="fr-FR">
              <a:latin typeface="CocogooseProNarrow Light" pitchFamily="2" charset="0"/>
            </a:endParaRPr>
          </a:p>
        </p:txBody>
      </p:sp>
      <p:sp>
        <p:nvSpPr>
          <p:cNvPr id="12" name="Menu2">
            <a:extLst>
              <a:ext uri="{FF2B5EF4-FFF2-40B4-BE49-F238E27FC236}">
                <a16:creationId xmlns:a16="http://schemas.microsoft.com/office/drawing/2014/main" id="{3D0A2468-6F8F-773B-01BF-A66EFA43F7CF}"/>
              </a:ext>
            </a:extLst>
          </p:cNvPr>
          <p:cNvSpPr txBox="1">
            <a:spLocks/>
          </p:cNvSpPr>
          <p:nvPr/>
        </p:nvSpPr>
        <p:spPr>
          <a:xfrm>
            <a:off x="6188075" y="3570951"/>
            <a:ext cx="5464175" cy="48230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fr-FR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>
                <a:tab pos="438150" algn="l"/>
              </a:tabLst>
              <a:defRPr sz="2200" b="0" i="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CocogooseProNarrow Light" pitchFamily="2" charset="0"/>
              </a:defRPr>
            </a:lvl1pPr>
            <a:lvl2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2200" baseline="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="1" i="0" cap="none" baseline="0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fr-FR"/>
              <a:t>3.	 Présentation de l’outil web</a:t>
            </a:r>
          </a:p>
        </p:txBody>
      </p:sp>
      <p:pic>
        <p:nvPicPr>
          <p:cNvPr id="2" name="Image 1" descr="Une image contenant Police, Graphique, logo, graphisme&#10;&#10;Description générée automatiquement">
            <a:extLst>
              <a:ext uri="{FF2B5EF4-FFF2-40B4-BE49-F238E27FC236}">
                <a16:creationId xmlns:a16="http://schemas.microsoft.com/office/drawing/2014/main" id="{0E4C1F84-8C96-AB8B-53A8-6AA10DE3D2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9767" y="2405588"/>
            <a:ext cx="4782089" cy="2046437"/>
          </a:xfrm>
          <a:prstGeom prst="rect">
            <a:avLst/>
          </a:prstGeom>
        </p:spPr>
      </p:pic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37BFC84C-51B3-9A9D-594C-EA4BDAB0892C}"/>
              </a:ext>
            </a:extLst>
          </p:cNvPr>
          <p:cNvCxnSpPr>
            <a:cxnSpLocks/>
          </p:cNvCxnSpPr>
          <p:nvPr/>
        </p:nvCxnSpPr>
        <p:spPr>
          <a:xfrm>
            <a:off x="6188075" y="4053259"/>
            <a:ext cx="546417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enu2">
            <a:extLst>
              <a:ext uri="{FF2B5EF4-FFF2-40B4-BE49-F238E27FC236}">
                <a16:creationId xmlns:a16="http://schemas.microsoft.com/office/drawing/2014/main" id="{A372CB76-1251-339B-1743-9920193E97A9}"/>
              </a:ext>
            </a:extLst>
          </p:cNvPr>
          <p:cNvSpPr txBox="1">
            <a:spLocks/>
          </p:cNvSpPr>
          <p:nvPr/>
        </p:nvSpPr>
        <p:spPr>
          <a:xfrm>
            <a:off x="6188075" y="4122805"/>
            <a:ext cx="5464175" cy="48230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fr-FR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>
                <a:tab pos="438150" algn="l"/>
              </a:tabLst>
              <a:defRPr sz="2200" b="0" i="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CocogooseProNarrow Light" pitchFamily="2" charset="0"/>
              </a:defRPr>
            </a:lvl1pPr>
            <a:lvl2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2200" baseline="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="1" i="0" cap="none" baseline="0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fr-FR"/>
              <a:t>4.    Questions – réponses</a:t>
            </a:r>
          </a:p>
        </p:txBody>
      </p:sp>
      <p:sp>
        <p:nvSpPr>
          <p:cNvPr id="7" name="Triangle 6">
            <a:extLst>
              <a:ext uri="{FF2B5EF4-FFF2-40B4-BE49-F238E27FC236}">
                <a16:creationId xmlns:a16="http://schemas.microsoft.com/office/drawing/2014/main" id="{D9BF4D95-CD8A-FC05-6C1E-1E9E05BA6837}"/>
              </a:ext>
            </a:extLst>
          </p:cNvPr>
          <p:cNvSpPr/>
          <p:nvPr/>
        </p:nvSpPr>
        <p:spPr>
          <a:xfrm rot="5400000" flipH="1">
            <a:off x="5747895" y="3092191"/>
            <a:ext cx="274997" cy="237066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CocogooseProNarrow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43327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086F82B4-EFF9-B37A-2E6B-39CA8CE76E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45087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8" imgW="7772400" imgH="10058400" progId="TCLayout.ActiveDocument.1">
                  <p:embed/>
                </p:oleObj>
              </mc:Choice>
              <mc:Fallback>
                <p:oleObj name="Diapositive think-cell" r:id="rId18" imgW="7772400" imgH="10058400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6F82B4-EFF9-B37A-2E6B-39CA8CE76E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8EA59C4D-BD48-199B-F7EB-CE431E376E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16827" y="6179795"/>
            <a:ext cx="8252647" cy="400050"/>
          </a:xfrm>
        </p:spPr>
        <p:txBody>
          <a:bodyPr/>
          <a:lstStyle/>
          <a:p>
            <a:r>
              <a:rPr lang="fr-FR"/>
              <a:t>Q1 : Premier quartile</a:t>
            </a:r>
          </a:p>
          <a:p>
            <a:r>
              <a:rPr lang="fr-FR"/>
              <a:t>Q3 : Troisième quartil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7BBD7CC-F548-9FD4-518A-0483CA82DE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D0DB382-938B-B707-7578-1053F2734B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B5A6716-DBF2-AF4C-9665-1BA53E8D7A19}" type="slidenum">
              <a:rPr lang="fr-FR" smtClean="0"/>
              <a:pPr/>
              <a:t>9</a:t>
            </a:fld>
            <a:endParaRPr lang="fr-FR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2A2D220C-26BF-69E6-2DC5-42DFE4EB7147}"/>
              </a:ext>
            </a:extLst>
          </p:cNvPr>
          <p:cNvSpPr txBox="1">
            <a:spLocks/>
          </p:cNvSpPr>
          <p:nvPr/>
        </p:nvSpPr>
        <p:spPr>
          <a:xfrm>
            <a:off x="11142482" y="6347795"/>
            <a:ext cx="509768" cy="232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5A6716-DBF2-AF4C-9665-1BA53E8D7A19}" type="slidenum">
              <a:rPr lang="fr-FR" smtClean="0"/>
              <a:pPr/>
              <a:t>9</a:t>
            </a:fld>
            <a:endParaRPr lang="fr-FR"/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92EF8C88-D1A7-5C4B-C043-6804A6A217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74800" y="1389226"/>
            <a:ext cx="3588243" cy="1900074"/>
          </a:xfrm>
          <a:prstGeom prst="roundRect">
            <a:avLst>
              <a:gd name="adj" fmla="val 369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79B7027E-89F9-D3C7-63D2-14CBA215D2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062912" y="1389063"/>
            <a:ext cx="3589338" cy="1900238"/>
          </a:xfrm>
          <a:prstGeom prst="roundRect">
            <a:avLst>
              <a:gd name="adj" fmla="val 369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DB1D3EF5-928A-D284-790B-9FDB86D2484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260850" y="1389063"/>
            <a:ext cx="3587750" cy="1900238"/>
          </a:xfrm>
          <a:prstGeom prst="roundRect">
            <a:avLst>
              <a:gd name="adj" fmla="val 369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space réservé du texte 6">
            <a:extLst>
              <a:ext uri="{FF2B5EF4-FFF2-40B4-BE49-F238E27FC236}">
                <a16:creationId xmlns:a16="http://schemas.microsoft.com/office/drawing/2014/main" id="{490EE6DF-A659-C927-BF5D-76712AADE1C0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306286" y="1444153"/>
            <a:ext cx="2756756" cy="696374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fr-FR" sz="2500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2,8</a:t>
            </a:r>
            <a:r>
              <a:rPr lang="fr-FR" sz="1200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 </a:t>
            </a:r>
            <a:r>
              <a:rPr lang="fr-FR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kgCO</a:t>
            </a:r>
            <a:r>
              <a:rPr lang="fr-FR" b="1" baseline="-2500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2</a:t>
            </a:r>
            <a:r>
              <a:rPr lang="fr-FR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e/séance</a:t>
            </a:r>
          </a:p>
          <a:p>
            <a:pPr marL="0" indent="0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None/>
            </a:pPr>
            <a:r>
              <a:rPr lang="fr-FR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Empreinte carbone moyenne par séance</a:t>
            </a:r>
          </a:p>
          <a:p>
            <a:pPr marL="0" indent="0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None/>
            </a:pPr>
            <a:endParaRPr lang="fr-FR" b="1">
              <a:solidFill>
                <a:schemeClr val="tx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  <a:p>
            <a:pPr marL="0" indent="0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None/>
            </a:pPr>
            <a:r>
              <a:rPr lang="fr-FR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Echantillon :</a:t>
            </a:r>
            <a:r>
              <a:rPr lang="fr-FR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 +831 000 séances</a:t>
            </a:r>
          </a:p>
          <a:p>
            <a:pPr marL="0" indent="0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None/>
            </a:pPr>
            <a:endParaRPr lang="fr-FR" sz="1000">
              <a:solidFill>
                <a:schemeClr val="tx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pic>
        <p:nvPicPr>
          <p:cNvPr id="11" name="Pic">
            <a:extLst>
              <a:ext uri="{FF2B5EF4-FFF2-40B4-BE49-F238E27FC236}">
                <a16:creationId xmlns:a16="http://schemas.microsoft.com/office/drawing/2014/main" id="{05C4718D-B8CD-F6CA-6916-B0254431D9B2}"/>
              </a:ext>
            </a:extLst>
          </p:cNvPr>
          <p:cNvPicPr>
            <a:picLocks/>
          </p:cNvPicPr>
          <p:nvPr>
            <p:custDataLst>
              <p:tags r:id="rId6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>
            <a:off x="620713" y="1450975"/>
            <a:ext cx="642938" cy="641350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12" name="Pic">
            <a:extLst>
              <a:ext uri="{FF2B5EF4-FFF2-40B4-BE49-F238E27FC236}">
                <a16:creationId xmlns:a16="http://schemas.microsoft.com/office/drawing/2014/main" id="{F9BA7811-A538-2D04-785D-8A8D141F4C8D}"/>
              </a:ext>
            </a:extLst>
          </p:cNvPr>
          <p:cNvPicPr>
            <a:picLocks/>
          </p:cNvPicPr>
          <p:nvPr>
            <p:custDataLst>
              <p:tags r:id="rId7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>
            <a:off x="8264525" y="1611313"/>
            <a:ext cx="546100" cy="546100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13" name="Pic">
            <a:extLst>
              <a:ext uri="{FF2B5EF4-FFF2-40B4-BE49-F238E27FC236}">
                <a16:creationId xmlns:a16="http://schemas.microsoft.com/office/drawing/2014/main" id="{23E352CF-E222-EB18-10C7-22E0F0F6C679}"/>
              </a:ext>
            </a:extLst>
          </p:cNvPr>
          <p:cNvPicPr>
            <a:picLocks/>
          </p:cNvPicPr>
          <p:nvPr>
            <p:custDataLst>
              <p:tags r:id="rId8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>
            <a:off x="4430713" y="1517650"/>
            <a:ext cx="625475" cy="627063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4" name="Titre 2">
            <a:extLst>
              <a:ext uri="{FF2B5EF4-FFF2-40B4-BE49-F238E27FC236}">
                <a16:creationId xmlns:a16="http://schemas.microsoft.com/office/drawing/2014/main" id="{D8FCFDFC-4E5C-400B-3D0E-285428BBB513}"/>
              </a:ext>
            </a:extLst>
          </p:cNvPr>
          <p:cNvSpPr txBox="1">
            <a:spLocks/>
          </p:cNvSpPr>
          <p:nvPr/>
        </p:nvSpPr>
        <p:spPr>
          <a:xfrm>
            <a:off x="536574" y="314960"/>
            <a:ext cx="11115675" cy="8964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i="0" kern="1200" baseline="0">
                <a:solidFill>
                  <a:schemeClr val="accent1"/>
                </a:solidFill>
                <a:latin typeface="CocogooseProNarrow Darkmode" panose="00000400000000000000" pitchFamily="2" charset="0"/>
                <a:ea typeface="+mj-ea"/>
                <a:cs typeface="+mj-cs"/>
              </a:defRPr>
            </a:lvl1pPr>
          </a:lstStyle>
          <a:p>
            <a:r>
              <a:rPr lang="fr-FR" noProof="0"/>
              <a:t>En moyenne, l’empreinte carbone d’une séance de </a:t>
            </a:r>
            <a:r>
              <a:rPr lang="fr-FR"/>
              <a:t>kinésithérapie atteint presque 3 kg de CO</a:t>
            </a:r>
            <a:r>
              <a:rPr lang="fr-FR" baseline="-25000"/>
              <a:t>2</a:t>
            </a:r>
            <a:r>
              <a:rPr lang="fr-FR"/>
              <a:t>e</a:t>
            </a:r>
            <a:r>
              <a:rPr lang="fr-FR" noProof="0"/>
              <a:t>  </a:t>
            </a: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id="{9F19552C-CF65-9854-942C-81F3F9308212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8893175" y="1460500"/>
            <a:ext cx="2757488" cy="696913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fr-FR" sz="2500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10,1</a:t>
            </a:r>
            <a:r>
              <a:rPr lang="fr-FR" sz="1200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 t</a:t>
            </a:r>
            <a:r>
              <a:rPr lang="fr-FR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CO</a:t>
            </a:r>
            <a:r>
              <a:rPr lang="fr-FR" b="1" baseline="-2500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2</a:t>
            </a:r>
            <a:r>
              <a:rPr lang="fr-FR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e/MK</a:t>
            </a:r>
          </a:p>
          <a:p>
            <a:pPr marL="0" indent="0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None/>
            </a:pPr>
            <a:r>
              <a:rPr lang="fr-FR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Empreinte carbone moyenne par Masseur-Kinésithérapeute</a:t>
            </a:r>
          </a:p>
          <a:p>
            <a:pPr marL="0" indent="0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None/>
            </a:pPr>
            <a:endParaRPr lang="fr-FR">
              <a:solidFill>
                <a:schemeClr val="tx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  <a:p>
            <a:pPr marL="0" indent="0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None/>
            </a:pPr>
            <a:r>
              <a:rPr lang="fr-FR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 Echantillon : </a:t>
            </a:r>
            <a:r>
              <a:rPr lang="fr-FR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227 ETP </a:t>
            </a:r>
          </a:p>
          <a:p>
            <a:pPr marL="0" indent="0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None/>
            </a:pPr>
            <a:endParaRPr lang="fr-FR" sz="1000">
              <a:solidFill>
                <a:schemeClr val="tx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id="{451851C4-8F42-B90E-77C2-20FA3D02A606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5108575" y="1460500"/>
            <a:ext cx="2757488" cy="696913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fr-FR" sz="2500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38</a:t>
            </a:r>
            <a:r>
              <a:rPr lang="fr-FR" sz="1200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 t</a:t>
            </a:r>
            <a:r>
              <a:rPr lang="fr-FR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CO</a:t>
            </a:r>
            <a:r>
              <a:rPr lang="fr-FR" b="1" baseline="-2500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2</a:t>
            </a:r>
            <a:r>
              <a:rPr lang="fr-FR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e/cabinet</a:t>
            </a:r>
          </a:p>
          <a:p>
            <a:pPr marL="0" indent="0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None/>
            </a:pPr>
            <a:r>
              <a:rPr lang="fr-FR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Empreinte carbone moyenne par structure ou cabinet</a:t>
            </a:r>
          </a:p>
          <a:p>
            <a:pPr marL="0" indent="0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None/>
            </a:pPr>
            <a:endParaRPr lang="fr-FR" b="1">
              <a:solidFill>
                <a:schemeClr val="tx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  <a:p>
            <a:pPr marL="0" indent="0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None/>
            </a:pPr>
            <a:r>
              <a:rPr lang="fr-FR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Echantillon : </a:t>
            </a:r>
            <a:r>
              <a:rPr lang="fr-FR" b="1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60 cabinets/structures</a:t>
            </a:r>
          </a:p>
          <a:p>
            <a:pPr marL="0" indent="0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None/>
            </a:pPr>
            <a:endParaRPr lang="fr-FR" sz="1000">
              <a:solidFill>
                <a:schemeClr val="tx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E2F2D709-A898-F5D0-7DB2-666F33854877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474800" y="3568701"/>
            <a:ext cx="3488783" cy="283320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fr-FR" sz="1200" b="1">
                <a:latin typeface="Inter" panose="02000503000000020004" pitchFamily="2" charset="0"/>
                <a:ea typeface="Inter" panose="02000503000000020004" pitchFamily="2" charset="0"/>
              </a:rPr>
              <a:t>Distribution de la moyenne</a:t>
            </a:r>
          </a:p>
          <a:p>
            <a:pPr marL="0" indent="0">
              <a:lnSpc>
                <a:spcPct val="100000"/>
              </a:lnSpc>
              <a:buNone/>
            </a:pPr>
            <a:endParaRPr lang="fr-FR" sz="1200" b="1"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id="{943F5379-03A9-DF63-8666-854B97485EAB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8062913" y="3851275"/>
            <a:ext cx="3489325" cy="977900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chemeClr val="accent1"/>
              </a:buClr>
            </a:pPr>
            <a:r>
              <a:rPr lang="fr-FR" sz="120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L’empreinte carbone par MK est très disparate compte tenu du type de pratique (à domicile, EHPAD et au cabinet) et la taille de la structure</a:t>
            </a:r>
          </a:p>
          <a:p>
            <a:pPr>
              <a:lnSpc>
                <a:spcPct val="100000"/>
              </a:lnSpc>
              <a:buClr>
                <a:schemeClr val="accent1"/>
              </a:buClr>
            </a:pPr>
            <a:r>
              <a:rPr lang="fr-FR" sz="120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La moitié des MK ont une empreinte carbone comprise entre 7,1 (Q1) et 12,4 tCO</a:t>
            </a:r>
            <a:r>
              <a:rPr lang="fr-FR" sz="1200" baseline="-2500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2</a:t>
            </a:r>
            <a:r>
              <a:rPr lang="fr-FR" sz="120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e (Q3)</a:t>
            </a: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id="{1AF5AADE-AE83-8DBD-0570-075B96B51295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8062913" y="3568700"/>
            <a:ext cx="3489325" cy="282575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fr-FR" sz="1200" b="1">
                <a:latin typeface="Inter" panose="02000503000000020004" pitchFamily="2" charset="0"/>
                <a:ea typeface="Inter" panose="02000503000000020004" pitchFamily="2" charset="0"/>
              </a:rPr>
              <a:t>Distribution de la moyenne</a:t>
            </a:r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id="{06C4255C-163F-CB2C-54D7-747E0FE577CA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4260850" y="3851275"/>
            <a:ext cx="3487738" cy="977900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chemeClr val="accent1"/>
              </a:buClr>
            </a:pPr>
            <a:r>
              <a:rPr lang="fr-FR" sz="120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Si en moyenne un cabinet va émettre 39 tCO2e sur une année, la moitié d’entre eux a une empreinte carbone située entre 15(Q1) et 58 tCO</a:t>
            </a:r>
            <a:r>
              <a:rPr lang="fr-FR" sz="1200" baseline="-2500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2</a:t>
            </a:r>
            <a:r>
              <a:rPr lang="fr-FR" sz="120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e (Q3)</a:t>
            </a: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id="{4C4ED880-24B1-1FE6-A86B-9527B84DD50B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4260850" y="3568700"/>
            <a:ext cx="3487738" cy="282575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fr-FR" sz="1200" b="1">
                <a:latin typeface="Inter" panose="02000503000000020004" pitchFamily="2" charset="0"/>
                <a:ea typeface="Inter" panose="02000503000000020004" pitchFamily="2" charset="0"/>
              </a:rPr>
              <a:t>Distribution de la moyenne</a:t>
            </a: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id="{6538487C-5B13-C35B-F8FE-E6B57FD9B249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474800" y="3852021"/>
            <a:ext cx="3488783" cy="977154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554B"/>
              </a:buClr>
              <a:buSzPct val="100000"/>
              <a:buFont typeface="Police système Courant"/>
              <a:buChar char="●"/>
              <a:tabLst>
                <a:tab pos="431800" algn="l"/>
              </a:tabLst>
              <a:defRPr sz="1400" b="0" i="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92125" marR="0" indent="-2095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83246"/>
              </a:buClr>
              <a:buSzTx/>
              <a:buFont typeface="Wingdings" pitchFamily="2" charset="2"/>
              <a:buChar char="§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6450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Police système Courant"/>
              <a:buChar char="–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074738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5739B"/>
              </a:buClr>
              <a:buSzTx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389063" marR="0" indent="-254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AAAAB2"/>
              </a:buClr>
              <a:buSz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Police système Courant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chemeClr val="accent1"/>
              </a:buClr>
            </a:pPr>
            <a:r>
              <a:rPr lang="fr-FR" sz="120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La moitié des séances a une empreinte carbone située entre 2 (Q1) et 3,9 tCO</a:t>
            </a:r>
            <a:r>
              <a:rPr lang="fr-FR" sz="1200" baseline="-2500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2</a:t>
            </a:r>
            <a:r>
              <a:rPr lang="fr-FR" sz="120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 (Q3), avec seulement quelques exceptions (c.f. slides suivantes)</a:t>
            </a:r>
          </a:p>
          <a:p>
            <a:pPr>
              <a:lnSpc>
                <a:spcPct val="100000"/>
              </a:lnSpc>
              <a:buClr>
                <a:schemeClr val="accent1"/>
              </a:buClr>
            </a:pPr>
            <a:r>
              <a:rPr lang="fr-FR" sz="120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rPr>
              <a:t>Séances à domicile, EHPAD et au cabinet</a:t>
            </a:r>
          </a:p>
        </p:txBody>
      </p:sp>
      <p:sp>
        <p:nvSpPr>
          <p:cNvPr id="24" name="Rectangle : coins arrondis 23">
            <a:extLst>
              <a:ext uri="{FF2B5EF4-FFF2-40B4-BE49-F238E27FC236}">
                <a16:creationId xmlns:a16="http://schemas.microsoft.com/office/drawing/2014/main" id="{4ECE246A-CF1A-1920-1B26-59A025EFC15C}"/>
              </a:ext>
            </a:extLst>
          </p:cNvPr>
          <p:cNvSpPr/>
          <p:nvPr/>
        </p:nvSpPr>
        <p:spPr>
          <a:xfrm>
            <a:off x="3213188" y="5453626"/>
            <a:ext cx="5762445" cy="621171"/>
          </a:xfrm>
          <a:prstGeom prst="roundRect">
            <a:avLst>
              <a:gd name="adj" fmla="val 1757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200">
                <a:solidFill>
                  <a:schemeClr val="tx2"/>
                </a:solidFill>
              </a:rPr>
              <a:t>Incertitude donnée entrée : 6 %				</a:t>
            </a:r>
          </a:p>
          <a:p>
            <a:r>
              <a:rPr lang="fr-FR" sz="1200">
                <a:solidFill>
                  <a:schemeClr val="tx2"/>
                </a:solidFill>
              </a:rPr>
              <a:t>Incertitude contenu carbone : 45%	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16CB8D21-75CE-7C13-172F-44CB875DFF3B}"/>
              </a:ext>
            </a:extLst>
          </p:cNvPr>
          <p:cNvSpPr txBox="1"/>
          <p:nvPr/>
        </p:nvSpPr>
        <p:spPr>
          <a:xfrm>
            <a:off x="6487319" y="5671878"/>
            <a:ext cx="191398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fr-FR" sz="1200" b="1">
                <a:solidFill>
                  <a:schemeClr val="tx2"/>
                </a:solidFill>
              </a:rPr>
              <a:t>Incertitude globale : 50% </a:t>
            </a:r>
          </a:p>
        </p:txBody>
      </p:sp>
      <p:sp>
        <p:nvSpPr>
          <p:cNvPr id="29" name="Accolade fermante 28">
            <a:extLst>
              <a:ext uri="{FF2B5EF4-FFF2-40B4-BE49-F238E27FC236}">
                <a16:creationId xmlns:a16="http://schemas.microsoft.com/office/drawing/2014/main" id="{17D41418-7FCA-C3B9-7F96-59DD5AC8A6D3}"/>
              </a:ext>
            </a:extLst>
          </p:cNvPr>
          <p:cNvSpPr/>
          <p:nvPr/>
        </p:nvSpPr>
        <p:spPr>
          <a:xfrm>
            <a:off x="6054725" y="5560081"/>
            <a:ext cx="89691" cy="408259"/>
          </a:xfrm>
          <a:prstGeom prst="rightBrac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850411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80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0&quot;&gt;&lt;elem m_fUsage=&quot;1.73503155504993245017E+00&quot;&gt;&lt;m_msothmcolidx val=&quot;0&quot;/&gt;&lt;m_rgb r=&quot;52&quot; g=&quot;BC&quot; b=&quot;A8&quot;/&gt;&lt;/elem&gt;&lt;elem m_fUsage=&quot;1.60277387436710805346E+00&quot;&gt;&lt;m_msothmcolidx val=&quot;0&quot;/&gt;&lt;m_rgb r=&quot;FF&quot; g=&quot;ED&quot; b=&quot;B9&quot;/&gt;&lt;/elem&gt;&lt;elem m_fUsage=&quot;1.34730283894436930758E+00&quot;&gt;&lt;m_msothmcolidx val=&quot;0&quot;/&gt;&lt;m_rgb r=&quot;C9&quot; g=&quot;E9&quot; b=&quot;DA&quot;/&gt;&lt;/elem&gt;&lt;elem m_fUsage=&quot;1.10940487658100028767E+00&quot;&gt;&lt;m_msothmcolidx val=&quot;0&quot;/&gt;&lt;m_rgb r=&quot;AA&quot; g=&quot;3B&quot; b=&quot;35&quot;/&gt;&lt;/elem&gt;&lt;elem m_fUsage=&quot;9.18861489000000197791E-01&quot;&gt;&lt;m_msothmcolidx val=&quot;0&quot;/&gt;&lt;m_rgb r=&quot;87&quot; g=&quot;2E&quot; b=&quot;2A&quot;/&gt;&lt;/elem&gt;&lt;elem m_fUsage=&quot;8.61991132094649281647E-01&quot;&gt;&lt;m_msothmcolidx val=&quot;0&quot;/&gt;&lt;m_rgb r=&quot;EF&quot; g=&quot;FF&quot; b=&quot;9B&quot;/&gt;&lt;/elem&gt;&lt;elem m_fUsage=&quot;6.84653792832900287557E-01&quot;&gt;&lt;m_msothmcolidx val=&quot;0&quot;/&gt;&lt;m_rgb r=&quot;D8&quot; g=&quot;4C&quot; b=&quot;44&quot;/&gt;&lt;/elem&gt;&lt;elem m_fUsage=&quot;3.13810596090000171188E-01&quot;&gt;&lt;m_msothmcolidx val=&quot;0&quot;/&gt;&lt;m_rgb r=&quot;FF&quot; g=&quot;59&quot; b=&quot;50&quot;/&gt;&lt;/elem&gt;&lt;elem m_fUsage=&quot;2.71671289887568501165E-01&quot;&gt;&lt;m_msothmcolidx val=&quot;0&quot;/&gt;&lt;m_rgb r=&quot;FC&quot; g=&quot;C0&quot; b=&quot;03&quot;/&gt;&lt;/elem&gt;&lt;elem m_fUsage=&quot;2.28767924549610118801E-01&quot;&gt;&lt;m_msothmcolidx val=&quot;0&quot;/&gt;&lt;m_rgb r=&quot;FD&quot; g=&quot;FF&quot; b=&quot;DA&quot;/&gt;&lt;/elem&gt;&lt;elem m_fUsage=&quot;1.57585787278238714793E-01&quot;&gt;&lt;m_msothmcolidx val=&quot;0&quot;/&gt;&lt;m_rgb r=&quot;EB&quot; g=&quot;EB&quot; b=&quot;EB&quot;/&gt;&lt;/elem&gt;&lt;elem m_fUsage=&quot;1.35085171767299283552E-01&quot;&gt;&lt;m_msothmcolidx val=&quot;0&quot;/&gt;&lt;m_rgb r=&quot;FF&quot; g=&quot;FB&quot; b=&quot;00&quot;/&gt;&lt;/elem&gt;&lt;elem m_fUsage=&quot;8.86293811965250810658E-02&quot;&gt;&lt;m_msothmcolidx val=&quot;0&quot;/&gt;&lt;m_rgb r=&quot;5B&quot; g=&quot;9C&quot; b=&quot;F4&quot;/&gt;&lt;/elem&gt;&lt;elem m_fUsage=&quot;7.97664430768725701837E-02&quot;&gt;&lt;m_msothmcolidx val=&quot;0&quot;/&gt;&lt;m_rgb r=&quot;00&quot; g=&quot;96&quot; b=&quot;FF&quot;/&gt;&lt;/elem&gt;&lt;elem m_fUsage=&quot;7.17897987691853145531E-02&quot;&gt;&lt;m_msothmcolidx val=&quot;0&quot;/&gt;&lt;m_rgb r=&quot;2B&quot; g=&quot;B7&quot; b=&quot;F0&quot;/&gt;&lt;/elem&gt;&lt;elem m_fUsage=&quot;6.46108188922667886489E-02&quot;&gt;&lt;m_msothmcolidx val=&quot;0&quot;/&gt;&lt;m_rgb r=&quot;D6&quot; g=&quot;D6&quot; b=&quot;D6&quot;/&gt;&lt;/elem&gt;&lt;elem m_fUsage=&quot;4.23911582752162438559E-02&quot;&gt;&lt;m_msothmcolidx val=&quot;0&quot;/&gt;&lt;m_rgb r=&quot;C2&quot; g=&quot;C2&quot; b=&quot;C2&quot;/&gt;&lt;/elem&gt;&lt;elem m_fUsage=&quot;3.81520424476946215520E-02&quot;&gt;&lt;m_msothmcolidx val=&quot;0&quot;/&gt;&lt;m_rgb r=&quot;F3&quot; g=&quot;E9&quot; b=&quot;EE&quot;/&gt;&lt;/elem&gt;&lt;elem m_fUsage=&quot;3.43368382029251573151E-02&quot;&gt;&lt;m_msothmcolidx val=&quot;0&quot;/&gt;&lt;m_rgb r=&quot;38&quot; g=&quot;D3&quot; b=&quot;A9&quot;/&gt;&lt;/elem&gt;&lt;elem m_fUsage=&quot;3.09031543826326429714E-02&quot;&gt;&lt;m_msothmcolidx val=&quot;0&quot;/&gt;&lt;m_rgb r=&quot;09&quot; g=&quot;35&quot; b=&quot;79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wP0spxrLvi32vRzzNA2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fhKL128z9rinUttDidI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zw9C4s1pN5wmo4xTwFE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Blnigkt3nzZpwcuoWtz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7Z5_4t28rDIDUL9I8aw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dpae6jbQtzODCMiDgsv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kJjm1XuyQodVW2dCMwB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04AdgChAeeznLwmkI4B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iscREqjOuRGeAt352jY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2C2Wvx_OnoxYX__1XoK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hCfKneJoE66hk5m_5G_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8.OSYeuZYfztWvVINqf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ZWEw24sjpdLqc3NXR9O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Pss9row_Ds5YagCCxnW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6FOSwVBWoyTUK475zvB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jjhW61iPzC_dxtbXxy4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2M1jb5BVG0MgqJVg4IQ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ByYcy_69MLjvxDIrM29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_gBYEVysEm2hDJujXH8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U9CpAITqVgtMUDe0BP6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sRDecVu5NJdW372CpXk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W5cpHzpeU.drZ09dJeu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pRSQ40rqko2Xo_aS_M_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4CMD5EM9Hn6x9Z3sut2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I7GQ57KOhv6wQbWcDuL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S8g70nignRzhDuR.DUZ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u_rPePtBjTo7g5XvNaq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6hTZtgZruNUeb06s9DE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M6h5Q7FZ97ZOvYIGGYQ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mvn0cZX5kzemVjraIG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U45aiIBw9adjbeNfuRu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5H3GiZPnUH06nkoaiiS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3Qcluiy_RWnPlYDPvw_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ylMiZDB3fSAh2FEpnQJ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guN1emUjXZhUEjirrtm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D0sAEcf7iuFQeSXehak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wAyD_YZ94hSufbjcs0L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CvFgNS_ZQhfZuo49U3Y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pmuVWciqARlh2tCefnX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NDAJCC2OUKCFnKtw6H2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otQlvWaOHSJUe67X971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Wa7gVswe5ZVV7qnEPrV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wU97FiAr5lDrj0DgfY.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rvKXnn6ay5Hqx7_HE0E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xh6N3CxzyVWHtwkWDi1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Xtyk23QTsUvPTC2eVbZ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dX6Z3CRBJ9l8FBhyumr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xi9LqHc5MAOV96ULpCj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5F_k8RghKNQVVXnRS3v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0OJc2stUuN20RJlKpn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EApxZs9vU4SKsdhMmVf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T0SOkZtPEeBOZ1rrveS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4EH4C9.xkeWqJ9mkAcx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oWoxAjZw0aIxuAXMJNw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rV_sv2_WvqBl.5_M29N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GbcKSN3CxmTt_Ul9Xs0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Ervj0sihuDuAzQqShX7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MhXDtTcMSPNhD2RDenM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8lApJ0DU8hiLOKdtLdm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ZnQkGE6OsgEE7Ngjizw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KG8xgFl4XYPEQXvNZ9B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2A_SCkcHZ6Yq_SRxWl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6864SgDhCTT1F.QwuIX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orXUQSJFH3kCop5MOnm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WHVeidausCJUwiRX4Nj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FVWiIhqSo11bWpyxGqy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2FwQh0wEFZBGh.MYEIl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IiJnQZawNjlA152hS.b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HK9w_G_Jno_ydr9v8fC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P12zRi.pcIdcfYR_qVN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ybDBlOEwRtprYKzybWQ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RMlOvqwmzOeebtfMrC7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QXysG_Y6f6Z24lU6SRK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ETTg0xX0u5yzP94rdA.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KXvAP0JxH7wZU24G6MT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CrNKdP.XbdAtCgFobzB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VBvSJlkYhraFllKLEDN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1KhpztBBZo2jaqEme.6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gMNjsKersUkvg0xPq0o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RXawUC3r9LJARP_z531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t.GIqYJdWnFWaxMxhoI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ZOVhuFMZvWUCK0YULu5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yuMTM7M07GXoa0fjwoZ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z14M6DqNnuj6hJ5tP6p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pUbaOlWR46Ad0_rOIep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uTKu9ZUFB7mfUq5mx5N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3BLVP_VzTQXyMCUlWgB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XpnN7aW0sF0ImG.LDf1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8kQW3OtS3.qreh0Py.p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cOl3A6FKTpfqvctdkQH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h_YWAC5qBjzIYjdltEY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tvajWaImVAT2holvpAs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S7JvoN69fXSGhNplzGE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6n4ZmrffXhoWEh8wNnw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opI9DmsO8jQnDaMX5SA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PRV7ZAFqqZK1XlTbSSz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aQzMbjtXM5vQgZ7XVIL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qmqvD02nNiCLzkAPB32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zK97pak6GSmPROhRo5v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9YRguu.cmQX5QbIBNnV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KX6ER1mYMXQf.avQrPS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RLi5xKiDoDViiQTU_SE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VWT9gVc74JbzoSOke2S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wjCoFMsSJXcfw3Gdf5S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SMFhyBxao4QnhA6Mh.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XQuFl22EASLlVLXKaMm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rrsmK3GswNfNU4ZqyhE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sf2Pe72jAY0nV3KpNLB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46UvXVqfiQj7NScUKdl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AGQKflFHPGT_.ARMEPx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Z2F5dV8E29YITZDtbuf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FD9bm03ssTH3EoarIhT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JyTNE.NsHPBhrcHFUTK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jpDd9ioWvFyf6jhhsh.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qLEcXsteMwVHbxryolU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Redm_BF5R3RpvcoltQu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.tNXlfHpJkRQ_T2zkg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DARd2e4JA5cDI1LSBL1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mIxwrTznT5F0wZ1BJve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gp6Metbt9W5lyFLaQUS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xxovVjpQnfBIuCR45Jj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_uE_kQ_QTxbQcbA.xfQ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8jKNlCSeeAMrbflXwOF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EQ875Abq07yc0rCOrGx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hMMf.LKqwyFh.qj2irv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Uc0ZXK.94.uASMUvHaU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_KJ6Jh44QBMZo9S6.Gi7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dX6Z3CRBJ9l8FBhyumr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5F_k8RghKNQVVXnRS3v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4EH4C9.xkeWqJ9mkAcx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FVWiIhqSo11bWpyxGqy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KXvAP0JxH7wZU24G6MT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rV_sv2_WvqBl.5_M29N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P12zRi.pcIdcfYR_qVN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Ervj0sihuDuAzQqShX7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KG8xgFl4XYPEQXvNZ9B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ZOVhuFMZvWUCK0YULu5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3d8_9KRrgGTtf74Txxj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pUbaOlWR46Ad0_rOIep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gMNjsKersUkvg0xPq0o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VITGHHR2Zj8dewXLuoW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BM47iOPrUEVcUpVS8V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VBvSJlkYhraFllKLEDN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8kQW3OtS3.qreh0Py.p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6n4ZmrffXhoWEh8wNnw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zK97pak6GSmPROhRo5v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KX6ER1mYMXQf.avQrPS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PRV7ZAFqqZK1XlTbSSz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aut43ieBVBp.g0XwsxfZ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9YRguu.cmQX5QbIBNnV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aQzMbjtXM5vQgZ7XVIL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qmqvD02nNiCLzkAPB32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VWT9gVc74JbzoSOke2S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RLi5xKiDoDViiQTU_SE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SMFhyBxao4QnhA6Mh.q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wjCoFMsSJXcfw3Gdf5S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S7JvoN69fXSGhNplzGE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sf2Pe72jAY0nV3KpNLB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46UvXVqfiQj7NScUKd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WS4Th6DmA4Ej_cwrvg7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AGQKflFHPGT_.ARMEPx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Z2F5dV8E29YITZDtbuf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FD9bm03ssTH3EoarIhT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JyTNE.NsHPBhrcHFUTK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jpDd9ioWvFyf6jhhsh.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qLEcXsteMwVHbxryolU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Redm_BF5R3RpvcoltQu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DARd2e4JA5cDI1LSBL1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mIxwrTznT5F0wZ1BJve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gp6Metbt9W5lyFLaQUS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b3MjiWLBwYpl2j2fCrV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xxovVjpQnfBIuCR45Jj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_uE_kQ_QTxbQcbA.xfQ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8jKNlCSeeAMrbflXwOF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EQ875Abq07yc0rCOrGx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hMMf.LKqwyFh.qj2irv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Uc0ZXK.94.uASMUvHaU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Xh9CV1bZItJJ9Y1f57W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JEFdiNAKJ2QPsGsTc3e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vNkXaYgP3QSb0IqBp_E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iTAUqxjY3uW1Mi22BuD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3zmKUZrer1NGr4xElJQ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YNk87TNS74cDuNi_QoC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uk4opZLEROrASdbBG4B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hALYVT_ha9QbH3I6Pzz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MyHRhwfknS9pSjmKYWB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q0ksQqtri2mUD.DG95q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XntjcMUGQr67j0qKRqZ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C2XWwqM_yUmcvue4Brs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Gc.MxBV4Yde8LdlwVD0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QE0zYYPXGMcd1Dm7zld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.IfQBmVam0GRlrzF3L2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rruPIYcwzR1stCkhaLy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LCvabLnItSZGkQWUCLQ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kGtVEs56AUJ8Q2s6K8K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7CaE3jVBPHFpRnrxvEP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590oNAQ3S4VR_Ddky_T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.8uyVNgbIBv2JraDOYGe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UvOc_ZZthFnPgNpygbK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xkNyeCJ82CAErCNMWqo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OgQhwAc8O0Hdday7ISk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Joux7O7fmvG.1io7Q9f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9pyK7lJtwCk9H.O3KTN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oCf8W3b7m555ygHH8TW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gCnaE37iieKt52Cgukc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A9.8aMxb9DXkcN90NWp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0xIlsuBW.f0GwQYV20V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SqSuMYWxmAEkeG8UhI7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Xf0xFQbJqTsjARR0h5y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x6yodI4Stex5K.5e7d0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bFFFlgS9JOZEL.5KDX.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wKfpEQCOO_cDY_Oc396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Iz_cVpntO2cuE8EzENU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fbIbZRJIXc11DY2XQVH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GnH63EBPRNnLkw7Subz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d15yvJ0vxWzlJu3HkEL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UKgob.UlL63Z_qPVqI2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gGs7sDqfH88P7CtaGbr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hNPMcra0jI8ITjZOTu.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brztvI0nNoY.XlIT58l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62zU9FH8INmRHzFGlQS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NXem1sXxAH1WcAJjpBu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WZZiQ5uqoHT76XhlWRW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HZkdYfFPmlhjaIJQBGh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l6kV2NtkQuvvTBcYA4q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_aATkowh65XArSbe41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2oDL3fEdOex92I80gV.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rruPIYcwzR1stCkhaLy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LCvabLnItSZGkQWUCLQ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kGtVEs56AUJ8Q2s6K8K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7CaE3jVBPHFpRnrxvEP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590oNAQ3S4VR_Ddky_T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.8uyVNgbIBv2JraDOYG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yYbVxSdoph1osJHWbi1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UvOc_ZZthFnPgNpygbK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xkNyeCJ82CAErCNMWqo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OgQhwAc8O0Hdday7ISk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Joux7O7fmvG.1io7Q9f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9pyK7lJtwCk9H.O3KTN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oCf8W3b7m555ygHH8TW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gCnaE37iieKt52Cgukc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A9.8aMxb9DXkcN90NWp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0xIlsuBW.f0GwQYV20V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SqSuMYWxmAEkeG8UhI7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s5gS3YF4wbpi8tmWb.E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Xf0xFQbJqTsjARR0h5y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x6yodI4Stex5K.5e7d0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bFFFlgS9JOZEL.5KDX.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HsVp_kXKvgRZ0.U394z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YZuck98Wtee5A3je_Rd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mOVvNXPt.4hlSAaKMyu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4zol2Zm3F2H4wt5sVw1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NikzuTjU_RhuijrFzR7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rfelYKqVZYEoSzcThWx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ZMegPl2bXR3NuXbhJGh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XiEq3QHPjoGxwSJr9g0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ubVNMBSQIqMutig_Zff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9eDJVzoPMePzPGpo47B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jqgluToHghPpgT.eygT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VGzuMaGyLFDIGU8tlQ3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FKKVpLiajrF3XHbzAoc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6GgKwcm_.KQab21CNw9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4LwKYSh5jQGgYAXqT1g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XYgoA0D4SaW575SBT3U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GXn7ZSOQMSbZus.8qfB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6BOI1G23DRwFMz80Cf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as1QibKw9.s_scs7QKm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j7w5HQMYuOVAxjbJFoN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SRH2f9YDYZrERvJw3go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Y0jvRM..8KVPDt.TKwj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f2vGEeYNr_R01zTOnVI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2LwTUkjX8aTLpdEKpRp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IfTtRvCQOlXFY9LiCJL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z2L1noQqER9F7n1o.Wo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VH17rGedsRu2eVsrNsJ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O09VspehlKNI78hGaMu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R3DCg.kHWXQV3d68U37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enp99x74p7gQuHhgOfb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Iy.UBgygA3QGYTrSrQl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LjpRwjRt_ysxZLP9.N3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yZ2Bkyc9mu0PgCr2n0a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aao04ygwEMmczh5NWlZ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8IikfEw0YEyuAFA5wdk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XN3YtXFIYoJaKDSDfyk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N8kZFbIBvnfAdIvO6gx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0e0_WyA_Tu5G7Rsj.kW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qwuYmQ_n4Wdpz65F_UM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ITanBEnRYILXzlagYRA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15uDObQxhB8SR8ADKQt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..9HD535v7_nvqJ76KW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a46PxdZt_nNstqSpABT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iW3qcrEEH_Db8eOfU59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4Hv54c0Z2iLtYpkyTdc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fD4GpP97P_wZPEwEl5Y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F.x5S_4mUvrJejPV4RF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HfdKLHcVJAQsNhlUATp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HdxIdhX3L8krZ7zVk7z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EN56BGZWAbpp32kn.gh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FQ60qYmgpGwxxCZh275w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mz81c9PjzyxxiI8scw4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_r7E0pcJTLY_caR8Ky4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2sR7IYubX2FKgFi6HG1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HHjj7U3ftw9sotryr3v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sMM3Yl.VExDsN1PKowP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y5yVDWU9UQYkK1XaW1k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kCg7whMl56G88L5KGBy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xRcbT1UC05cqgx43geg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D3Gt2212DlJL0ZjI6_b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YbqUii6honms44xGhDn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1WehWU1uE1tCh0zPCvX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qiliuejpF_YkBi2o2JJ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Fd_HGXTKzbYzjeXD7R.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TZSClEKFxb3tt7IDWIr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VvbchDTh9tFKzsccO4P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zx5vZW7Th3Z4Gto34Pi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DqvFyMrA44C2Bl5d2jE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498VU7Z3YY_Hs3ecdKb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jVMFmgZcDSPq5Rxfd7A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39l4Khrlu8BjCQQAoJN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wgqsIfDTWhq6JFWYNP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TuX0zotFTKl4uKBY9OO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quayDoJxk5PQ8TSGHaY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17N3y_R2N2lRcXJRWXI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Xpe4vDbeFusleBoiq_5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vf.WOjNg6OLN.UUORgp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EwJqeLhXwxuOqF4CXSf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F_O8vXfqNZdPiZPMRHWQ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2ZvfPo0p0h5ZsJiLH6H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1ka0JK7m4FZQXRuB.Ln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_Lnu0h9mIPdnwgBif68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rWWF1_aMCIR_nmN91hF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JhgqFfxfJPDExyLzTF3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62ARcox4j.UeJktlvpq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rlqX7.3xddqDd.rYKmwg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zCTJJqevaBpCBdFzDP7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jyIHaPX.IUeDUObctw_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XQE0mofPb294xvMzGD4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fWUepXipm8WrLHD5cVQ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zIaP7vrT0RTbSQD0xmR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xmg6YT6HzUDpekiu1qf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6XbvZFEDIRPnxx2gE4W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dhI1KXnq23OcA16DVNr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rSbRTMn.akWDymjlocD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Pp8NHnmJFAGCcbScvJIg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qGrJdk8cVTffhYNJ4cr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V_gSK_IDubKQ_H0ESit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tAe6WLJmPq7Gx10uC3SA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CfD0PXMFBm0SJsrDPVA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iuM6FxB0Tsdc_zq2iLi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ewzq8DVaOjO83ake4cp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Nhmr.KwgW.SYLAbsLsb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XTFdGWQoJFjCyO8MXl3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cTolbgFL7f.jw.EeI6tg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8I3IebmodDpq2WNZSAr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24PJlGtvoLfFZpjvirvA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2Um4cofnftzK041XYmb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k471zeloQyvaIyLZ5TfA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mkplR25sFmtpOoVosur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cb3P40hsh4p96RlH5l7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DrRxNuhg.ZCrR8412Sv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fboyRhhoeygW4Y1QbL0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G49MxQXMfzHpif1tOaA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Z3OdKhTzaKF8.5ZKn2y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V5p2_wghSzsQ2kWzEOm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NlmskXPjGIHud1SkS1x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EVGt4ZjEhjMqpwN6C7OQ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tBekHSbmOToGkgwa72D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Az6Elau3eLO4DAqiItK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v3vzRyBktb4k_B7fKIEw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9k.YbCQ7Ki80gKHsk1G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_LOsP3YkCcIl0U7eDOL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t7oTSJDE5B4S7VedA24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V6d.9uHfX9q3YoCHSDQ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Z6afCgz6LE5z9Ey8gkxg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WS8NuG1BcHeUXNf3T1W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IdI3rSEZu4QPpgipzmq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0T2ZRoN6U5lWZvrqKRz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TbDCL0b84BYXN2TCzXZ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QKfWyoJV9Y_l7sdihpk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Jq7.nSnqmU6yFm9f5WR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WMG1ZCn4_Qg.qOXJK5h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h1JOXcKsEISfWifggw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l9IYgVJR6sM0XSKByiY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I2V8Hr1.i5ccsqxvWt3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WkylBoZ9oVXcH0Izr7S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7XRtI..lttsx2dfqMPa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KAl.aZ29UKNT3ilXWRJ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MRrnwk.u8sq7H4V7pNY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RMATU_4J8Eumsz4QaVl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.tPwSYjLQWijtCb7EMb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G_pUSa2eJW1wjqNg0h6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tFzczJWIoUFY21pSD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4N4CEFbgkFZSvOlvtYG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0MrvfWiFcufHKW3X8bJ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Q00trvF5DfqXcaU98pL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7_lipJJQZvyERc7o2Im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6XbvZFEDIRPnxx2gE4W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nNittJliSE71bifHenj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XTFdGWQoJFjCyO8MXl3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Z3OdKhTzaKF8.5ZKn2y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QKfWyoJV9Y_l7sdihpk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L8xvDbft0ZY8zC4XAQ7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PB25ycyJs7_UeQCpMDI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Z6afCgz6LE5z9Ey8gkx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l9IYgVJR6sM0XSKByiY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I2V8Hr1.i5ccsqxvWt3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WkylBoZ9oVXcH0Izr7S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7XRtI..lttsx2dfqMPa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KAl.aZ29UKNT3ilXWRJ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MRrnwk.u8sq7H4V7pNY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RMATU_4J8Eumsz4QaV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.tPwSYjLQWijtCb7EMb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G_pUSa2eJW1wjqNg0h6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tFzczJWIoUFY21pSDB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4N4CEFbgkFZSvOlvtYG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0MrvfWiFcufHKW3X8bJ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Q00trvF5DfqXcaU98pL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7_lipJJQZvyERc7o2Im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Bypzfu97DGXxzxmxrxp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fPQ1gq9hs144W8VL6n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f4aT41kprLJtAJD3_xj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BE88EQ4QQCpr4Smm8OS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4m.r7KrysIyO049ieOm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NoZPmu71go01Vvar34I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wRTwMfjmQ4tIcd0I_tJ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SDRXKdna09fZqmpGBbi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y9ACuwC47UrhJXl5xSD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Q4d9HUWgAUYGvCAQFwI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gKie_SKtzTswdy_bxR5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yUrf4Sv3X49xlMD2NdGQ"/>
</p:tagLst>
</file>

<file path=ppt/theme/theme1.xml><?xml version="1.0" encoding="utf-8"?>
<a:theme xmlns:a="http://schemas.openxmlformats.org/drawingml/2006/main" name="Fond-Blanc_Carbone4_2021">
  <a:themeElements>
    <a:clrScheme name="Charte MyCO2">
      <a:dk1>
        <a:srgbClr val="000000"/>
      </a:dk1>
      <a:lt1>
        <a:srgbClr val="FFFFFF"/>
      </a:lt1>
      <a:dk2>
        <a:srgbClr val="606166"/>
      </a:dk2>
      <a:lt2>
        <a:srgbClr val="A7A9AE"/>
      </a:lt2>
      <a:accent1>
        <a:srgbClr val="283246"/>
      </a:accent1>
      <a:accent2>
        <a:srgbClr val="FF554B"/>
      </a:accent2>
      <a:accent3>
        <a:srgbClr val="3282F0"/>
      </a:accent3>
      <a:accent4>
        <a:srgbClr val="FFB3AA"/>
      </a:accent4>
      <a:accent5>
        <a:srgbClr val="77C7A2"/>
      </a:accent5>
      <a:accent6>
        <a:srgbClr val="FFD250"/>
      </a:accent6>
      <a:hlink>
        <a:srgbClr val="3282F0"/>
      </a:hlink>
      <a:folHlink>
        <a:srgbClr val="093E87"/>
      </a:folHlink>
    </a:clrScheme>
    <a:fontScheme name="Charte MyCO2">
      <a:majorFont>
        <a:latin typeface="CocogooseProNarrow Darkmode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ésentation4" id="{13E11E80-508E-D443-A301-5FFFB730B369}" vid="{5011A1E5-F7E9-A44C-A4E3-8ABFF2DBAF37}"/>
    </a:ext>
  </a:extLst>
</a:theme>
</file>

<file path=ppt/theme/theme2.xml><?xml version="1.0" encoding="utf-8"?>
<a:theme xmlns:a="http://schemas.openxmlformats.org/drawingml/2006/main" name="Conception personnalisée">
  <a:themeElements>
    <a:clrScheme name="Nouvelle charte">
      <a:dk1>
        <a:srgbClr val="000000"/>
      </a:dk1>
      <a:lt1>
        <a:srgbClr val="FFFFFF"/>
      </a:lt1>
      <a:dk2>
        <a:srgbClr val="46464E"/>
      </a:dk2>
      <a:lt2>
        <a:srgbClr val="AAAAB2"/>
      </a:lt2>
      <a:accent1>
        <a:srgbClr val="283246"/>
      </a:accent1>
      <a:accent2>
        <a:srgbClr val="FF554B"/>
      </a:accent2>
      <a:accent3>
        <a:srgbClr val="3282F0"/>
      </a:accent3>
      <a:accent4>
        <a:srgbClr val="FFB3AA"/>
      </a:accent4>
      <a:accent5>
        <a:srgbClr val="77C7A2"/>
      </a:accent5>
      <a:accent6>
        <a:srgbClr val="FFD250"/>
      </a:accent6>
      <a:hlink>
        <a:srgbClr val="FFFFFF"/>
      </a:hlink>
      <a:folHlink>
        <a:srgbClr val="55739B"/>
      </a:folHlink>
    </a:clrScheme>
    <a:fontScheme name="Charte MyCO2">
      <a:majorFont>
        <a:latin typeface="CocogooseProNarrow Darkmode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Fond-Bleu_Carbone4_2021">
  <a:themeElements>
    <a:clrScheme name="Carbone 4 - 2021">
      <a:dk1>
        <a:srgbClr val="000000"/>
      </a:dk1>
      <a:lt1>
        <a:srgbClr val="FFFFFF"/>
      </a:lt1>
      <a:dk2>
        <a:srgbClr val="46464E"/>
      </a:dk2>
      <a:lt2>
        <a:srgbClr val="AAAAB2"/>
      </a:lt2>
      <a:accent1>
        <a:srgbClr val="283246"/>
      </a:accent1>
      <a:accent2>
        <a:srgbClr val="55739B"/>
      </a:accent2>
      <a:accent3>
        <a:srgbClr val="FF554B"/>
      </a:accent3>
      <a:accent4>
        <a:srgbClr val="FFAA96"/>
      </a:accent4>
      <a:accent5>
        <a:srgbClr val="5F8C82"/>
      </a:accent5>
      <a:accent6>
        <a:srgbClr val="A0C8B9"/>
      </a:accent6>
      <a:hlink>
        <a:srgbClr val="FFFFFF"/>
      </a:hlink>
      <a:folHlink>
        <a:srgbClr val="55739B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4" id="{13E11E80-508E-D443-A301-5FFFB730B369}" vid="{F81AC957-240A-7F46-899E-A966D4BF6192}"/>
    </a:ext>
  </a:extLst>
</a:theme>
</file>

<file path=ppt/theme/theme4.xml><?xml version="1.0" encoding="utf-8"?>
<a:theme xmlns:a="http://schemas.openxmlformats.org/drawingml/2006/main" name="1_Fond-Blanc_Carbone4_2021">
  <a:themeElements>
    <a:clrScheme name="Charte MyCO2">
      <a:dk1>
        <a:srgbClr val="000000"/>
      </a:dk1>
      <a:lt1>
        <a:srgbClr val="FFFFFF"/>
      </a:lt1>
      <a:dk2>
        <a:srgbClr val="606166"/>
      </a:dk2>
      <a:lt2>
        <a:srgbClr val="A7A9AE"/>
      </a:lt2>
      <a:accent1>
        <a:srgbClr val="283246"/>
      </a:accent1>
      <a:accent2>
        <a:srgbClr val="FF554B"/>
      </a:accent2>
      <a:accent3>
        <a:srgbClr val="3282F0"/>
      </a:accent3>
      <a:accent4>
        <a:srgbClr val="FFB3AA"/>
      </a:accent4>
      <a:accent5>
        <a:srgbClr val="77C7A2"/>
      </a:accent5>
      <a:accent6>
        <a:srgbClr val="FFD250"/>
      </a:accent6>
      <a:hlink>
        <a:srgbClr val="3282F0"/>
      </a:hlink>
      <a:folHlink>
        <a:srgbClr val="093E87"/>
      </a:folHlink>
    </a:clrScheme>
    <a:fontScheme name="Charte MyCO2">
      <a:majorFont>
        <a:latin typeface="CocogooseProNarrow Darkmode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ésentation4" id="{13E11E80-508E-D443-A301-5FFFB730B369}" vid="{5011A1E5-F7E9-A44C-A4E3-8ABFF2DBAF37}"/>
    </a:ext>
  </a:extLst>
</a:theme>
</file>

<file path=ppt/theme/theme5.xml><?xml version="1.0" encoding="utf-8"?>
<a:theme xmlns:a="http://schemas.openxmlformats.org/drawingml/2006/main" name="C4 2021 PPT Nouvelle Charte">
  <a:themeElements>
    <a:clrScheme name="Carbone4_Couleurs2021">
      <a:dk1>
        <a:srgbClr val="000000"/>
      </a:dk1>
      <a:lt1>
        <a:srgbClr val="FFFFFF"/>
      </a:lt1>
      <a:dk2>
        <a:srgbClr val="46464E"/>
      </a:dk2>
      <a:lt2>
        <a:srgbClr val="AAAAB2"/>
      </a:lt2>
      <a:accent1>
        <a:srgbClr val="283246"/>
      </a:accent1>
      <a:accent2>
        <a:srgbClr val="55739B"/>
      </a:accent2>
      <a:accent3>
        <a:srgbClr val="FF554B"/>
      </a:accent3>
      <a:accent4>
        <a:srgbClr val="FFAA96"/>
      </a:accent4>
      <a:accent5>
        <a:srgbClr val="5F8C82"/>
      </a:accent5>
      <a:accent6>
        <a:srgbClr val="A0C8B9"/>
      </a:accent6>
      <a:hlink>
        <a:srgbClr val="FFFFFF"/>
      </a:hlink>
      <a:folHlink>
        <a:srgbClr val="55739B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4 2021 PPT Nouvelle Charte" id="{19EDF189-69E8-9745-9BDA-D98AB662E85B}" vid="{B7FAB094-7003-F846-BC9F-7EEC04865AF1}"/>
    </a:ext>
  </a:extLst>
</a:theme>
</file>

<file path=ppt/theme/theme6.xml><?xml version="1.0" encoding="utf-8"?>
<a:theme xmlns:a="http://schemas.openxmlformats.org/drawingml/2006/main" name="Fond-Bleu_C4_202108">
  <a:themeElements>
    <a:clrScheme name="Carbone 4 - 2021">
      <a:dk1>
        <a:srgbClr val="000000"/>
      </a:dk1>
      <a:lt1>
        <a:srgbClr val="FFFFFF"/>
      </a:lt1>
      <a:dk2>
        <a:srgbClr val="46464E"/>
      </a:dk2>
      <a:lt2>
        <a:srgbClr val="AAAAB2"/>
      </a:lt2>
      <a:accent1>
        <a:srgbClr val="283246"/>
      </a:accent1>
      <a:accent2>
        <a:srgbClr val="55739B"/>
      </a:accent2>
      <a:accent3>
        <a:srgbClr val="FF554B"/>
      </a:accent3>
      <a:accent4>
        <a:srgbClr val="FFAA96"/>
      </a:accent4>
      <a:accent5>
        <a:srgbClr val="5F8C82"/>
      </a:accent5>
      <a:accent6>
        <a:srgbClr val="A0C8B9"/>
      </a:accent6>
      <a:hlink>
        <a:srgbClr val="FFFFFF"/>
      </a:hlink>
      <a:folHlink>
        <a:srgbClr val="55739B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2" id="{CF35E829-E24F-5546-98A7-94398315BA60}" vid="{D8A012A0-7C76-8B47-83E5-676A94BDD4F8}"/>
    </a:ext>
  </a:extLst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2EC0929CFE0A42B68711CF0C9416A7" ma:contentTypeVersion="18" ma:contentTypeDescription="Crée un document." ma:contentTypeScope="" ma:versionID="73c1d30937ffcb085b0d7a5a0b877989">
  <xsd:schema xmlns:xsd="http://www.w3.org/2001/XMLSchema" xmlns:xs="http://www.w3.org/2001/XMLSchema" xmlns:p="http://schemas.microsoft.com/office/2006/metadata/properties" xmlns:ns2="5334b2b5-2f79-47ee-aa97-7ec821b541ff" xmlns:ns3="2ff38429-663e-49b9-a784-cda0ec13db7d" targetNamespace="http://schemas.microsoft.com/office/2006/metadata/properties" ma:root="true" ma:fieldsID="1d50c06397bcb6804a34db9d71571e62" ns2:_="" ns3:_="">
    <xsd:import namespace="5334b2b5-2f79-47ee-aa97-7ec821b541ff"/>
    <xsd:import namespace="2ff38429-663e-49b9-a784-cda0ec13db7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34b2b5-2f79-47ee-aa97-7ec821b541f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Balises d’images" ma:readOnly="false" ma:fieldId="{5cf76f15-5ced-4ddc-b409-7134ff3c332f}" ma:taxonomyMulti="true" ma:sspId="3e489252-1872-443e-9106-228f6fa762b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f38429-663e-49b9-a784-cda0ec13db7d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d14f0d98-fa9e-4c2f-a734-33ad3010d955}" ma:internalName="TaxCatchAll" ma:showField="CatchAllData" ma:web="2ff38429-663e-49b9-a784-cda0ec13db7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ff38429-663e-49b9-a784-cda0ec13db7d" xsi:nil="true"/>
    <lcf76f155ced4ddcb4097134ff3c332f xmlns="5334b2b5-2f79-47ee-aa97-7ec821b541ff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F32453A5-ACA8-4EFF-B59A-54C78982231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7427354-2C94-4E94-A12C-DF33B9DF03D7}">
  <ds:schemaRefs>
    <ds:schemaRef ds:uri="2ff38429-663e-49b9-a784-cda0ec13db7d"/>
    <ds:schemaRef ds:uri="5334b2b5-2f79-47ee-aa97-7ec821b541f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CF2A8FF9-2131-45D5-9BC1-96238DFDD3CF}">
  <ds:schemaRefs>
    <ds:schemaRef ds:uri="2ff38429-663e-49b9-a784-cda0ec13db7d"/>
    <ds:schemaRef ds:uri="5334b2b5-2f79-47ee-aa97-7ec821b541f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ond-Blanc_Carbone4_2021</Template>
  <TotalTime>0</TotalTime>
  <Words>2191</Words>
  <Application>Microsoft Office PowerPoint</Application>
  <PresentationFormat>Grand écran</PresentationFormat>
  <Paragraphs>661</Paragraphs>
  <Slides>26</Slides>
  <Notes>6</Notes>
  <HiddenSlides>1</HiddenSlides>
  <MMClips>0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6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6</vt:i4>
      </vt:variant>
    </vt:vector>
  </HeadingPairs>
  <TitlesOfParts>
    <vt:vector size="43" baseType="lpstr">
      <vt:lpstr>Arial</vt:lpstr>
      <vt:lpstr>Calibri</vt:lpstr>
      <vt:lpstr>Century Gothic</vt:lpstr>
      <vt:lpstr>CocogooseProNarrow Darkmode</vt:lpstr>
      <vt:lpstr>CocogooseProNarrow Light</vt:lpstr>
      <vt:lpstr>Helvetica</vt:lpstr>
      <vt:lpstr>Inter</vt:lpstr>
      <vt:lpstr>Police système Courant</vt:lpstr>
      <vt:lpstr>Wingdings</vt:lpstr>
      <vt:lpstr>Wingdings 3</vt:lpstr>
      <vt:lpstr>Fond-Blanc_Carbone4_2021</vt:lpstr>
      <vt:lpstr>Conception personnalisée</vt:lpstr>
      <vt:lpstr>Fond-Bleu_Carbone4_2021</vt:lpstr>
      <vt:lpstr>1_Fond-Blanc_Carbone4_2021</vt:lpstr>
      <vt:lpstr>C4 2021 PPT Nouvelle Charte</vt:lpstr>
      <vt:lpstr>Fond-Bleu_C4_202108</vt:lpstr>
      <vt:lpstr>Diapositive think-cell</vt:lpstr>
      <vt:lpstr>[Webinaire] Résultats et présentation de l’outil web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athias  rotellini</dc:creator>
  <cp:lastModifiedBy>ED ZOUAGHI</cp:lastModifiedBy>
  <cp:revision>2</cp:revision>
  <dcterms:created xsi:type="dcterms:W3CDTF">2022-05-10T16:54:10Z</dcterms:created>
  <dcterms:modified xsi:type="dcterms:W3CDTF">2025-12-23T11:35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92EC0929CFE0A42B68711CF0C9416A7</vt:lpwstr>
  </property>
  <property fmtid="{D5CDD505-2E9C-101B-9397-08002B2CF9AE}" pid="3" name="MediaServiceImageTags">
    <vt:lpwstr/>
  </property>
</Properties>
</file>